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00.xml" ContentType="application/vnd.openxmlformats-officedocument.themeOverride+xml"/>
  <Override PartName="/ppt/theme/themeOverride101.xml" ContentType="application/vnd.openxmlformats-officedocument.themeOverride+xml"/>
  <Override PartName="/ppt/theme/themeOverride102.xml" ContentType="application/vnd.openxmlformats-officedocument.themeOverride+xml"/>
  <Override PartName="/ppt/theme/themeOverride103.xml" ContentType="application/vnd.openxmlformats-officedocument.themeOverride+xml"/>
  <Override PartName="/ppt/theme/themeOverride104.xml" ContentType="application/vnd.openxmlformats-officedocument.themeOverride+xml"/>
  <Override PartName="/ppt/theme/themeOverride105.xml" ContentType="application/vnd.openxmlformats-officedocument.themeOverride+xml"/>
  <Override PartName="/ppt/theme/themeOverride106.xml" ContentType="application/vnd.openxmlformats-officedocument.themeOverride+xml"/>
  <Override PartName="/ppt/theme/themeOverride107.xml" ContentType="application/vnd.openxmlformats-officedocument.themeOverride+xml"/>
  <Override PartName="/ppt/theme/themeOverride108.xml" ContentType="application/vnd.openxmlformats-officedocument.themeOverride+xml"/>
  <Override PartName="/ppt/theme/themeOverride109.xml" ContentType="application/vnd.openxmlformats-officedocument.themeOverride+xml"/>
  <Override PartName="/ppt/theme/themeOverride11.xml" ContentType="application/vnd.openxmlformats-officedocument.themeOverride+xml"/>
  <Override PartName="/ppt/theme/themeOverride110.xml" ContentType="application/vnd.openxmlformats-officedocument.themeOverride+xml"/>
  <Override PartName="/ppt/theme/themeOverride111.xml" ContentType="application/vnd.openxmlformats-officedocument.themeOverride+xml"/>
  <Override PartName="/ppt/theme/themeOverride112.xml" ContentType="application/vnd.openxmlformats-officedocument.themeOverride+xml"/>
  <Override PartName="/ppt/theme/themeOverride113.xml" ContentType="application/vnd.openxmlformats-officedocument.themeOverride+xml"/>
  <Override PartName="/ppt/theme/themeOverride114.xml" ContentType="application/vnd.openxmlformats-officedocument.themeOverride+xml"/>
  <Override PartName="/ppt/theme/themeOverride115.xml" ContentType="application/vnd.openxmlformats-officedocument.themeOverride+xml"/>
  <Override PartName="/ppt/theme/themeOverride116.xml" ContentType="application/vnd.openxmlformats-officedocument.themeOverride+xml"/>
  <Override PartName="/ppt/theme/themeOverride117.xml" ContentType="application/vnd.openxmlformats-officedocument.themeOverride+xml"/>
  <Override PartName="/ppt/theme/themeOverride118.xml" ContentType="application/vnd.openxmlformats-officedocument.themeOverride+xml"/>
  <Override PartName="/ppt/theme/themeOverride119.xml" ContentType="application/vnd.openxmlformats-officedocument.themeOverride+xml"/>
  <Override PartName="/ppt/theme/themeOverride12.xml" ContentType="application/vnd.openxmlformats-officedocument.themeOverride+xml"/>
  <Override PartName="/ppt/theme/themeOverride120.xml" ContentType="application/vnd.openxmlformats-officedocument.themeOverride+xml"/>
  <Override PartName="/ppt/theme/themeOverride121.xml" ContentType="application/vnd.openxmlformats-officedocument.themeOverride+xml"/>
  <Override PartName="/ppt/theme/themeOverride122.xml" ContentType="application/vnd.openxmlformats-officedocument.themeOverride+xml"/>
  <Override PartName="/ppt/theme/themeOverride123.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theme/themeOverride2.xml" ContentType="application/vnd.openxmlformats-officedocument.themeOverride+xml"/>
  <Override PartName="/ppt/theme/themeOverride20.xml" ContentType="application/vnd.openxmlformats-officedocument.themeOverride+xml"/>
  <Override PartName="/ppt/theme/themeOverride21.xml" ContentType="application/vnd.openxmlformats-officedocument.themeOverride+xml"/>
  <Override PartName="/ppt/theme/themeOverride22.xml" ContentType="application/vnd.openxmlformats-officedocument.themeOverride+xml"/>
  <Override PartName="/ppt/theme/themeOverride23.xml" ContentType="application/vnd.openxmlformats-officedocument.themeOverride+xml"/>
  <Override PartName="/ppt/theme/themeOverride24.xml" ContentType="application/vnd.openxmlformats-officedocument.themeOverride+xml"/>
  <Override PartName="/ppt/theme/themeOverride25.xml" ContentType="application/vnd.openxmlformats-officedocument.themeOverride+xml"/>
  <Override PartName="/ppt/theme/themeOverride26.xml" ContentType="application/vnd.openxmlformats-officedocument.themeOverride+xml"/>
  <Override PartName="/ppt/theme/themeOverride27.xml" ContentType="application/vnd.openxmlformats-officedocument.themeOverride+xml"/>
  <Override PartName="/ppt/theme/themeOverride28.xml" ContentType="application/vnd.openxmlformats-officedocument.themeOverride+xml"/>
  <Override PartName="/ppt/theme/themeOverride29.xml" ContentType="application/vnd.openxmlformats-officedocument.themeOverride+xml"/>
  <Override PartName="/ppt/theme/themeOverride3.xml" ContentType="application/vnd.openxmlformats-officedocument.themeOverride+xml"/>
  <Override PartName="/ppt/theme/themeOverride30.xml" ContentType="application/vnd.openxmlformats-officedocument.themeOverride+xml"/>
  <Override PartName="/ppt/theme/themeOverride31.xml" ContentType="application/vnd.openxmlformats-officedocument.themeOverride+xml"/>
  <Override PartName="/ppt/theme/themeOverride32.xml" ContentType="application/vnd.openxmlformats-officedocument.themeOverride+xml"/>
  <Override PartName="/ppt/theme/themeOverride33.xml" ContentType="application/vnd.openxmlformats-officedocument.themeOverride+xml"/>
  <Override PartName="/ppt/theme/themeOverride34.xml" ContentType="application/vnd.openxmlformats-officedocument.themeOverride+xml"/>
  <Override PartName="/ppt/theme/themeOverride35.xml" ContentType="application/vnd.openxmlformats-officedocument.themeOverride+xml"/>
  <Override PartName="/ppt/theme/themeOverride36.xml" ContentType="application/vnd.openxmlformats-officedocument.themeOverride+xml"/>
  <Override PartName="/ppt/theme/themeOverride37.xml" ContentType="application/vnd.openxmlformats-officedocument.themeOverride+xml"/>
  <Override PartName="/ppt/theme/themeOverride38.xml" ContentType="application/vnd.openxmlformats-officedocument.themeOverride+xml"/>
  <Override PartName="/ppt/theme/themeOverride39.xml" ContentType="application/vnd.openxmlformats-officedocument.themeOverride+xml"/>
  <Override PartName="/ppt/theme/themeOverride4.xml" ContentType="application/vnd.openxmlformats-officedocument.themeOverride+xml"/>
  <Override PartName="/ppt/theme/themeOverride40.xml" ContentType="application/vnd.openxmlformats-officedocument.themeOverride+xml"/>
  <Override PartName="/ppt/theme/themeOverride41.xml" ContentType="application/vnd.openxmlformats-officedocument.themeOverride+xml"/>
  <Override PartName="/ppt/theme/themeOverride42.xml" ContentType="application/vnd.openxmlformats-officedocument.themeOverride+xml"/>
  <Override PartName="/ppt/theme/themeOverride43.xml" ContentType="application/vnd.openxmlformats-officedocument.themeOverride+xml"/>
  <Override PartName="/ppt/theme/themeOverride44.xml" ContentType="application/vnd.openxmlformats-officedocument.themeOverride+xml"/>
  <Override PartName="/ppt/theme/themeOverride45.xml" ContentType="application/vnd.openxmlformats-officedocument.themeOverride+xml"/>
  <Override PartName="/ppt/theme/themeOverride46.xml" ContentType="application/vnd.openxmlformats-officedocument.themeOverride+xml"/>
  <Override PartName="/ppt/theme/themeOverride47.xml" ContentType="application/vnd.openxmlformats-officedocument.themeOverride+xml"/>
  <Override PartName="/ppt/theme/themeOverride48.xml" ContentType="application/vnd.openxmlformats-officedocument.themeOverride+xml"/>
  <Override PartName="/ppt/theme/themeOverride49.xml" ContentType="application/vnd.openxmlformats-officedocument.themeOverride+xml"/>
  <Override PartName="/ppt/theme/themeOverride5.xml" ContentType="application/vnd.openxmlformats-officedocument.themeOverride+xml"/>
  <Override PartName="/ppt/theme/themeOverride50.xml" ContentType="application/vnd.openxmlformats-officedocument.themeOverride+xml"/>
  <Override PartName="/ppt/theme/themeOverride51.xml" ContentType="application/vnd.openxmlformats-officedocument.themeOverride+xml"/>
  <Override PartName="/ppt/theme/themeOverride52.xml" ContentType="application/vnd.openxmlformats-officedocument.themeOverride+xml"/>
  <Override PartName="/ppt/theme/themeOverride53.xml" ContentType="application/vnd.openxmlformats-officedocument.themeOverride+xml"/>
  <Override PartName="/ppt/theme/themeOverride54.xml" ContentType="application/vnd.openxmlformats-officedocument.themeOverride+xml"/>
  <Override PartName="/ppt/theme/themeOverride55.xml" ContentType="application/vnd.openxmlformats-officedocument.themeOverride+xml"/>
  <Override PartName="/ppt/theme/themeOverride56.xml" ContentType="application/vnd.openxmlformats-officedocument.themeOverride+xml"/>
  <Override PartName="/ppt/theme/themeOverride57.xml" ContentType="application/vnd.openxmlformats-officedocument.themeOverride+xml"/>
  <Override PartName="/ppt/theme/themeOverride58.xml" ContentType="application/vnd.openxmlformats-officedocument.themeOverride+xml"/>
  <Override PartName="/ppt/theme/themeOverride59.xml" ContentType="application/vnd.openxmlformats-officedocument.themeOverride+xml"/>
  <Override PartName="/ppt/theme/themeOverride6.xml" ContentType="application/vnd.openxmlformats-officedocument.themeOverride+xml"/>
  <Override PartName="/ppt/theme/themeOverride60.xml" ContentType="application/vnd.openxmlformats-officedocument.themeOverride+xml"/>
  <Override PartName="/ppt/theme/themeOverride61.xml" ContentType="application/vnd.openxmlformats-officedocument.themeOverride+xml"/>
  <Override PartName="/ppt/theme/themeOverride62.xml" ContentType="application/vnd.openxmlformats-officedocument.themeOverride+xml"/>
  <Override PartName="/ppt/theme/themeOverride63.xml" ContentType="application/vnd.openxmlformats-officedocument.themeOverride+xml"/>
  <Override PartName="/ppt/theme/themeOverride64.xml" ContentType="application/vnd.openxmlformats-officedocument.themeOverride+xml"/>
  <Override PartName="/ppt/theme/themeOverride65.xml" ContentType="application/vnd.openxmlformats-officedocument.themeOverride+xml"/>
  <Override PartName="/ppt/theme/themeOverride66.xml" ContentType="application/vnd.openxmlformats-officedocument.themeOverride+xml"/>
  <Override PartName="/ppt/theme/themeOverride67.xml" ContentType="application/vnd.openxmlformats-officedocument.themeOverride+xml"/>
  <Override PartName="/ppt/theme/themeOverride68.xml" ContentType="application/vnd.openxmlformats-officedocument.themeOverride+xml"/>
  <Override PartName="/ppt/theme/themeOverride69.xml" ContentType="application/vnd.openxmlformats-officedocument.themeOverride+xml"/>
  <Override PartName="/ppt/theme/themeOverride7.xml" ContentType="application/vnd.openxmlformats-officedocument.themeOverride+xml"/>
  <Override PartName="/ppt/theme/themeOverride70.xml" ContentType="application/vnd.openxmlformats-officedocument.themeOverride+xml"/>
  <Override PartName="/ppt/theme/themeOverride71.xml" ContentType="application/vnd.openxmlformats-officedocument.themeOverride+xml"/>
  <Override PartName="/ppt/theme/themeOverride72.xml" ContentType="application/vnd.openxmlformats-officedocument.themeOverride+xml"/>
  <Override PartName="/ppt/theme/themeOverride73.xml" ContentType="application/vnd.openxmlformats-officedocument.themeOverride+xml"/>
  <Override PartName="/ppt/theme/themeOverride74.xml" ContentType="application/vnd.openxmlformats-officedocument.themeOverride+xml"/>
  <Override PartName="/ppt/theme/themeOverride75.xml" ContentType="application/vnd.openxmlformats-officedocument.themeOverride+xml"/>
  <Override PartName="/ppt/theme/themeOverride76.xml" ContentType="application/vnd.openxmlformats-officedocument.themeOverride+xml"/>
  <Override PartName="/ppt/theme/themeOverride77.xml" ContentType="application/vnd.openxmlformats-officedocument.themeOverride+xml"/>
  <Override PartName="/ppt/theme/themeOverride78.xml" ContentType="application/vnd.openxmlformats-officedocument.themeOverride+xml"/>
  <Override PartName="/ppt/theme/themeOverride79.xml" ContentType="application/vnd.openxmlformats-officedocument.themeOverride+xml"/>
  <Override PartName="/ppt/theme/themeOverride8.xml" ContentType="application/vnd.openxmlformats-officedocument.themeOverride+xml"/>
  <Override PartName="/ppt/theme/themeOverride80.xml" ContentType="application/vnd.openxmlformats-officedocument.themeOverride+xml"/>
  <Override PartName="/ppt/theme/themeOverride81.xml" ContentType="application/vnd.openxmlformats-officedocument.themeOverride+xml"/>
  <Override PartName="/ppt/theme/themeOverride82.xml" ContentType="application/vnd.openxmlformats-officedocument.themeOverride+xml"/>
  <Override PartName="/ppt/theme/themeOverride83.xml" ContentType="application/vnd.openxmlformats-officedocument.themeOverride+xml"/>
  <Override PartName="/ppt/theme/themeOverride84.xml" ContentType="application/vnd.openxmlformats-officedocument.themeOverride+xml"/>
  <Override PartName="/ppt/theme/themeOverride85.xml" ContentType="application/vnd.openxmlformats-officedocument.themeOverride+xml"/>
  <Override PartName="/ppt/theme/themeOverride86.xml" ContentType="application/vnd.openxmlformats-officedocument.themeOverride+xml"/>
  <Override PartName="/ppt/theme/themeOverride87.xml" ContentType="application/vnd.openxmlformats-officedocument.themeOverride+xml"/>
  <Override PartName="/ppt/theme/themeOverride88.xml" ContentType="application/vnd.openxmlformats-officedocument.themeOverride+xml"/>
  <Override PartName="/ppt/theme/themeOverride89.xml" ContentType="application/vnd.openxmlformats-officedocument.themeOverride+xml"/>
  <Override PartName="/ppt/theme/themeOverride9.xml" ContentType="application/vnd.openxmlformats-officedocument.themeOverride+xml"/>
  <Override PartName="/ppt/theme/themeOverride90.xml" ContentType="application/vnd.openxmlformats-officedocument.themeOverride+xml"/>
  <Override PartName="/ppt/theme/themeOverride91.xml" ContentType="application/vnd.openxmlformats-officedocument.themeOverride+xml"/>
  <Override PartName="/ppt/theme/themeOverride92.xml" ContentType="application/vnd.openxmlformats-officedocument.themeOverride+xml"/>
  <Override PartName="/ppt/theme/themeOverride93.xml" ContentType="application/vnd.openxmlformats-officedocument.themeOverride+xml"/>
  <Override PartName="/ppt/theme/themeOverride94.xml" ContentType="application/vnd.openxmlformats-officedocument.themeOverride+xml"/>
  <Override PartName="/ppt/theme/themeOverride95.xml" ContentType="application/vnd.openxmlformats-officedocument.themeOverride+xml"/>
  <Override PartName="/ppt/theme/themeOverride96.xml" ContentType="application/vnd.openxmlformats-officedocument.themeOverride+xml"/>
  <Override PartName="/ppt/theme/themeOverride97.xml" ContentType="application/vnd.openxmlformats-officedocument.themeOverride+xml"/>
  <Override PartName="/ppt/theme/themeOverride98.xml" ContentType="application/vnd.openxmlformats-officedocument.themeOverride+xml"/>
  <Override PartName="/ppt/theme/themeOverride9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74"/>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198" r:id="rId33"/>
    <p:sldId id="2147475199" r:id="rId34"/>
    <p:sldId id="2147475200" r:id="rId35"/>
    <p:sldId id="2147475201" r:id="rId36"/>
    <p:sldId id="2147475202" r:id="rId37"/>
    <p:sldId id="2147475203" r:id="rId38"/>
    <p:sldId id="2147475204" r:id="rId39"/>
    <p:sldId id="2147475205" r:id="rId40"/>
    <p:sldId id="2147475206" r:id="rId41"/>
    <p:sldId id="2147475207" r:id="rId42"/>
    <p:sldId id="2147475208" r:id="rId43"/>
    <p:sldId id="2147475209" r:id="rId44"/>
    <p:sldId id="2147475210" r:id="rId45"/>
    <p:sldId id="2147475211" r:id="rId46"/>
    <p:sldId id="2147475212" r:id="rId47"/>
    <p:sldId id="2147475213" r:id="rId48"/>
    <p:sldId id="2147475214" r:id="rId49"/>
    <p:sldId id="2147475215" r:id="rId50"/>
    <p:sldId id="2147475216" r:id="rId51"/>
    <p:sldId id="2147475217" r:id="rId52"/>
    <p:sldId id="2147475218" r:id="rId53"/>
    <p:sldId id="2147475219" r:id="rId54"/>
    <p:sldId id="2147475220" r:id="rId55"/>
    <p:sldId id="2147475221" r:id="rId56"/>
    <p:sldId id="2147475222" r:id="rId57"/>
    <p:sldId id="2147475223" r:id="rId58"/>
    <p:sldId id="2147475224" r:id="rId59"/>
    <p:sldId id="2147475225" r:id="rId60"/>
    <p:sldId id="2147475226" r:id="rId61"/>
    <p:sldId id="2147475227" r:id="rId62"/>
    <p:sldId id="2147475228" r:id="rId63"/>
    <p:sldId id="2147475229" r:id="rId64"/>
    <p:sldId id="2147475230" r:id="rId65"/>
    <p:sldId id="2147475231" r:id="rId66"/>
    <p:sldId id="2147475232" r:id="rId67"/>
    <p:sldId id="2147475233" r:id="rId68"/>
    <p:sldId id="2147475234" r:id="rId69"/>
    <p:sldId id="2147475235" r:id="rId70"/>
    <p:sldId id="2147475236" r:id="rId71"/>
    <p:sldId id="2147475237" r:id="rId72"/>
    <p:sldId id="2147475238" r:id="rId7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arket Trends by Brands" id="{5C00B795-B8D3-4C65-AC40-553C73421C84}">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Lst>
        </p14:section>
        <p14:section name="Market Concentration By Brands" id="{6BEADDC7-9E0C-4AA7-B629-66232736C58D}">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Lst>
        </p14:section>
        <p14:section name="Share and Growth By Manufacturer/Brands" id="{55BF3857-27DE-40F1-88F4-E833364C5D35}">
          <p14:sldIdLst>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Lst>
        </p14:section>
        <p14:section name="Share And Growth By Brands By Sector" id="{5AB25218-D11C-4371-8A51-FCA45AC55B6E}">
          <p14:sldIdLst>
            <p14:sldId id="2147475233"/>
            <p14:sldId id="2147475234"/>
            <p14:sldId id="2147475235"/>
          </p14:sldIdLst>
        </p14:section>
        <p14:section name="Share And Growth By Brands By Segment" id="{2003F09B-5255-41CC-B470-A0B0D5E8869F}">
          <p14:sldIdLst>
            <p14:sldId id="2147475236"/>
            <p14:sldId id="2147475237"/>
            <p14:sldId id="2147475238"/>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103" d="100"/>
          <a:sy n="103" d="100"/>
        </p:scale>
        <p:origin x="898"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notesMaster" Target="notesMasters/notesMaster1.xml"/><Relationship Id="rId75" Type="http://schemas.openxmlformats.org/officeDocument/2006/relationships/presProps" Target="presProps.xml"/><Relationship Id="rId76" Type="http://schemas.openxmlformats.org/officeDocument/2006/relationships/viewProps" Target="viewProps.xml"/><Relationship Id="rId77" Type="http://schemas.openxmlformats.org/officeDocument/2006/relationships/theme" Target="theme/theme1.xml"/><Relationship Id="rId78" Type="http://schemas.openxmlformats.org/officeDocument/2006/relationships/tableStyles" Target="tableStyles.xml"/><Relationship Id="rId79"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themeOverride" Target="../theme/themeOverride16.xml"/><Relationship Id="rId2"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themeOverride" Target="../theme/themeOverride17.xml"/><Relationship Id="rId2"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themeOverride" Target="../theme/themeOverride18.xml"/><Relationship Id="rId2"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themeOverride" Target="../theme/themeOverride19.xml"/><Relationship Id="rId2"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themeOverride" Target="../theme/themeOverride20.xml"/><Relationship Id="rId2"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themeOverride" Target="../theme/themeOverride21.xml"/><Relationship Id="rId2"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themeOverride" Target="../theme/themeOverride22.xml"/><Relationship Id="rId2"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themeOverride" Target="../theme/themeOverride23.xml"/><Relationship Id="rId2"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themeOverride" Target="../theme/themeOverride24.xml"/><Relationship Id="rId2"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themeOverride" Target="../theme/themeOverride25.xml"/><Relationship Id="rId2"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themeOverride" Target="../theme/themeOverride26.xml"/><Relationship Id="rId2"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themeOverride" Target="../theme/themeOverride27.xml"/><Relationship Id="rId2"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themeOverride" Target="../theme/themeOverride28.xml"/><Relationship Id="rId2"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themeOverride" Target="../theme/themeOverride29.xml"/><Relationship Id="rId2"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themeOverride" Target="../theme/themeOverride30.xml"/><Relationship Id="rId2"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themeOverride" Target="../theme/themeOverride31.xml"/><Relationship Id="rId2"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themeOverride" Target="../theme/themeOverride32.xml"/><Relationship Id="rId2"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themeOverride" Target="../theme/themeOverride33.xml"/><Relationship Id="rId2"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themeOverride" Target="../theme/themeOverride34.xml"/><Relationship Id="rId2"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themeOverride" Target="../theme/themeOverride35.xml"/><Relationship Id="rId2"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themeOverride" Target="../theme/themeOverride36.xml"/><Relationship Id="rId2"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themeOverride" Target="../theme/themeOverride37.xml"/><Relationship Id="rId2"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themeOverride" Target="../theme/themeOverride38.xml"/><Relationship Id="rId2"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themeOverride" Target="../theme/themeOverride39.xml"/><Relationship Id="rId2"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themeOverride" Target="../theme/themeOverride40.xml"/><Relationship Id="rId2"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themeOverride" Target="../theme/themeOverride41.xml"/><Relationship Id="rId2"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themeOverride" Target="../theme/themeOverride42.xml"/><Relationship Id="rId2"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themeOverride" Target="../theme/themeOverride43.xml"/><Relationship Id="rId2"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themeOverride" Target="../theme/themeOverride44.xml"/><Relationship Id="rId2"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themeOverride" Target="../theme/themeOverride45.xml"/><Relationship Id="rId2"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themeOverride" Target="../theme/themeOverride46.xml"/><Relationship Id="rId2"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themeOverride" Target="../theme/themeOverride47.xml"/><Relationship Id="rId2"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themeOverride" Target="../theme/themeOverride48.xml"/><Relationship Id="rId2"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themeOverride" Target="../theme/themeOverride49.xml"/><Relationship Id="rId2"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themeOverride" Target="../theme/themeOverride50.xml"/><Relationship Id="rId2"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themeOverride" Target="../theme/themeOverride51.xml"/><Relationship Id="rId2"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themeOverride" Target="../theme/themeOverride52.xml"/><Relationship Id="rId2"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themeOverride" Target="../theme/themeOverride53.xml"/><Relationship Id="rId2"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themeOverride" Target="../theme/themeOverride54.xml"/><Relationship Id="rId2"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themeOverride" Target="../theme/themeOverride55.xml"/><Relationship Id="rId2"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themeOverride" Target="../theme/themeOverride56.xml"/><Relationship Id="rId2"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themeOverride" Target="../theme/themeOverride57.xml"/><Relationship Id="rId2"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themeOverride" Target="../theme/themeOverride58.xml"/><Relationship Id="rId2"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themeOverride" Target="../theme/themeOverride59.xml"/><Relationship Id="rId2"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themeOverride" Target="../theme/themeOverride60.xml"/><Relationship Id="rId2"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themeOverride" Target="../theme/themeOverride61.xml"/><Relationship Id="rId2"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themeOverride" Target="../theme/themeOverride62.xml"/><Relationship Id="rId2"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themeOverride" Target="../theme/themeOverride63.xml"/><Relationship Id="rId2"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themeOverride" Target="../theme/themeOverride64.xml"/><Relationship Id="rId2"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themeOverride" Target="../theme/themeOverride65.xml"/><Relationship Id="rId2"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themeOverride" Target="../theme/themeOverride66.xml"/><Relationship Id="rId2"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themeOverride" Target="../theme/themeOverride67.xml"/><Relationship Id="rId2"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themeOverride" Target="../theme/themeOverride68.xml"/><Relationship Id="rId2"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themeOverride" Target="../theme/themeOverride69.xml"/><Relationship Id="rId2"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themeOverride" Target="../theme/themeOverride70.xml"/><Relationship Id="rId2"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themeOverride" Target="../theme/themeOverride71.xml"/><Relationship Id="rId2"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themeOverride" Target="../theme/themeOverride72.xml"/><Relationship Id="rId2"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themeOverride" Target="../theme/themeOverride73.xml"/><Relationship Id="rId2"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themeOverride" Target="../theme/themeOverride74.xml"/><Relationship Id="rId2"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themeOverride" Target="../theme/themeOverride75.xml"/><Relationship Id="rId2"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themeOverride" Target="../theme/themeOverride76.xml"/><Relationship Id="rId2"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themeOverride" Target="../theme/themeOverride77.xml"/><Relationship Id="rId2"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themeOverride" Target="../theme/themeOverride78.xml"/><Relationship Id="rId2"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themeOverride" Target="../theme/themeOverride79.xml"/><Relationship Id="rId2"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themeOverride" Target="../theme/themeOverride80.xml"/><Relationship Id="rId2"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themeOverride" Target="../theme/themeOverride81.xml"/><Relationship Id="rId2"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themeOverride" Target="../theme/themeOverride82.xml"/><Relationship Id="rId2"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themeOverride" Target="../theme/themeOverride83.xml"/><Relationship Id="rId2"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themeOverride" Target="../theme/themeOverride84.xml"/><Relationship Id="rId2"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themeOverride" Target="../theme/themeOverride85.xml"/><Relationship Id="rId2"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themeOverride" Target="../theme/themeOverride86.xml"/><Relationship Id="rId2"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themeOverride" Target="../theme/themeOverride87.xml"/><Relationship Id="rId2"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themeOverride" Target="../theme/themeOverride88.xml"/><Relationship Id="rId2"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themeOverride" Target="../theme/themeOverride89.xml"/><Relationship Id="rId2"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themeOverride" Target="../theme/themeOverride90.xml"/><Relationship Id="rId2"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themeOverride" Target="../theme/themeOverride91.xml"/><Relationship Id="rId2"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themeOverride" Target="../theme/themeOverride92.xml"/><Relationship Id="rId2"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themeOverride" Target="../theme/themeOverride93.xml"/><Relationship Id="rId2"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themeOverride" Target="../theme/themeOverride94.xml"/><Relationship Id="rId2"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themeOverride" Target="../theme/themeOverride95.xml"/><Relationship Id="rId2"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themeOverride" Target="../theme/themeOverride96.xml"/><Relationship Id="rId2"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themeOverride" Target="../theme/themeOverride97.xml"/><Relationship Id="rId2"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themeOverride" Target="../theme/themeOverride98.xml"/><Relationship Id="rId2"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themeOverride" Target="../theme/themeOverride99.xml"/><Relationship Id="rId2"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themeOverride" Target="../theme/themeOverride100.xml"/><Relationship Id="rId2"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themeOverride" Target="../theme/themeOverride101.xml"/><Relationship Id="rId2"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themeOverride" Target="../theme/themeOverride102.xml"/><Relationship Id="rId2"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themeOverride" Target="../theme/themeOverride103.xml"/><Relationship Id="rId2"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themeOverride" Target="../theme/themeOverride104.xml"/><Relationship Id="rId2"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themeOverride" Target="../theme/themeOverride105.xml"/><Relationship Id="rId2"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themeOverride" Target="../theme/themeOverride106.xml"/><Relationship Id="rId2"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themeOverride" Target="../theme/themeOverride107.xml"/><Relationship Id="rId2"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themeOverride" Target="../theme/themeOverride108.xml"/><Relationship Id="rId2"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themeOverride" Target="../theme/themeOverride109.xml"/><Relationship Id="rId2"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themeOverride" Target="../theme/themeOverride110.xml"/><Relationship Id="rId2"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themeOverride" Target="../theme/themeOverride111.xml"/><Relationship Id="rId2"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themeOverride" Target="../theme/themeOverride112.xml"/><Relationship Id="rId2"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themeOverride" Target="../theme/themeOverride113.xml"/><Relationship Id="rId2"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themeOverride" Target="../theme/themeOverride114.xml"/><Relationship Id="rId2"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themeOverride" Target="../theme/themeOverride115.xml"/><Relationship Id="rId2"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themeOverride" Target="../theme/themeOverride116.xml"/><Relationship Id="rId2"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themeOverride" Target="../theme/themeOverride117.xml"/><Relationship Id="rId2"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themeOverride" Target="../theme/themeOverride118.xml"/><Relationship Id="rId2"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themeOverride" Target="../theme/themeOverride119.xml"/><Relationship Id="rId2"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themeOverride" Target="../theme/themeOverride120.xml"/><Relationship Id="rId2"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themeOverride" Target="../theme/themeOverride121.xml"/><Relationship Id="rId2"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themeOverride" Target="../theme/themeOverride122.xml"/><Relationship Id="rId2"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themeOverride" Target="../theme/themeOverride123.xml"/><Relationship Id="rId2" Type="http://schemas.openxmlformats.org/officeDocument/2006/relationships/package" Target="../embeddings/Microsoft_Excel_Worksheet206.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themeOverride" Target="../theme/themeOverride4.xml"/><Relationship Id="rId2"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themeOverride" Target="../theme/themeOverride5.xml"/><Relationship Id="rId2"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themeOverride" Target="../theme/themeOverride6.xml"/><Relationship Id="rId2"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themeOverride" Target="../theme/themeOverride7.xml"/><Relationship Id="rId2"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themeOverride" Target="../theme/themeOverride8.xml"/><Relationship Id="rId2"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themeOverride" Target="../theme/themeOverride9.xml"/><Relationship Id="rId2"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themeOverride" Target="../theme/themeOverride10.xml"/><Relationship Id="rId2"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themeOverride" Target="../theme/themeOverride11.xml"/><Relationship Id="rId2"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themeOverride" Target="../theme/themeOverride12.xml"/><Relationship Id="rId2"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themeOverride" Target="../theme/themeOverride13.xml"/><Relationship Id="rId2"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themeOverride" Target="../theme/themeOverride14.xml"/><Relationship Id="rId2"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themeOverride" Target="../theme/themeOverride15.xml"/><Relationship Id="rId2"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17.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7.6</a:t>
                    </a:r>
                  </a:p>
                </c:rich>
              </c:tx>
              <c:showLegendKey val="0"/>
              <c:showVal val="1"/>
              <c:showCatName val="0"/>
              <c:showSerName val="0"/>
              <c:showPercent val="0"/>
              <c:showBubbleSize val="0"/>
            </c:dLbl>
            <c:dLbl>
              <c:idx val="2"/>
              <c:tx>
                <c:rich>
                  <a:bodyPr/>
                  <a:lstStyle/>
                  <a:p>
                    <a:r>
                      <a:rPr>
                        <a:solidFill>
                          <a:srgbClr val="FFFFFF"/>
                        </a:solidFill>
                      </a:rPr>
                      <a:t>7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17.307742</c:v>
                </c:pt>
                <c:pt idx="1">
                  <c:v>217.62946</c:v>
                </c:pt>
                <c:pt idx="2">
                  <c:v>75.21136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7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95.5</a:t>
                    </a:r>
                  </a:p>
                </c:rich>
              </c:tx>
              <c:showLegendKey val="0"/>
              <c:showVal val="1"/>
              <c:showCatName val="0"/>
              <c:showSerName val="0"/>
              <c:showPercent val="0"/>
              <c:showBubbleSize val="0"/>
            </c:dLbl>
            <c:dLbl>
              <c:idx val="2"/>
              <c:tx>
                <c:rich>
                  <a:bodyPr/>
                  <a:lstStyle/>
                  <a:p>
                    <a:r>
                      <a:rPr>
                        <a:solidFill>
                          <a:srgbClr val="FFFFFF"/>
                        </a:solidFill>
                      </a:rPr>
                      <a:t>136.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471.595496</c:v>
                </c:pt>
                <c:pt idx="1">
                  <c:v>495.514275</c:v>
                </c:pt>
                <c:pt idx="2">
                  <c:v>136.82714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7.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8.2</a:t>
                    </a:r>
                  </a:p>
                </c:rich>
              </c:tx>
              <c:showLegendKey val="0"/>
              <c:showVal val="1"/>
              <c:showCatName val="0"/>
              <c:showSerName val="0"/>
              <c:showPercent val="0"/>
              <c:showBubbleSize val="0"/>
            </c:dLbl>
            <c:dLbl>
              <c:idx val="2"/>
              <c:tx>
                <c:rich>
                  <a:bodyPr/>
                  <a:lstStyle/>
                  <a:p>
                    <a:r>
                      <a:rPr>
                        <a:solidFill>
                          <a:srgbClr val="FFFFFF"/>
                        </a:solidFill>
                      </a:rPr>
                      <a:t>18.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57.016105</c:v>
                </c:pt>
                <c:pt idx="1">
                  <c:v>58.185296</c:v>
                </c:pt>
                <c:pt idx="2">
                  <c:v>18.90630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Entremont</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4</a:t>
                    </a:r>
                  </a:p>
                </c:rich>
              </c:tx>
              <c:showLegendKey val="0"/>
              <c:showVal val="1"/>
              <c:showCatName val="0"/>
              <c:showSerName val="0"/>
              <c:showPercent val="0"/>
              <c:showBubbleSize val="0"/>
            </c:dLbl>
            <c:dLbl>
              <c:idx val="2"/>
              <c:tx>
                <c:rich>
                  <a:bodyPr/>
                  <a:lstStyle/>
                  <a:p>
                    <a:r>
                      <a:rPr>
                        <a:solidFill>
                          <a:srgbClr val="FFFFFF"/>
                        </a:solidFill>
                      </a:rPr>
                      <a:t>2.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2.32905</c:v>
                </c:pt>
                <c:pt idx="1">
                  <c:v>22.41542</c:v>
                </c:pt>
                <c:pt idx="2">
                  <c:v>2.89751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Soign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8.1</a:t>
                    </a:r>
                  </a:p>
                </c:rich>
              </c:tx>
              <c:showLegendKey val="0"/>
              <c:showVal val="1"/>
              <c:showCatName val="0"/>
              <c:showSerName val="0"/>
              <c:showPercent val="0"/>
              <c:showBubbleSize val="0"/>
            </c:dLbl>
            <c:dLbl>
              <c:idx val="2"/>
              <c:tx>
                <c:rich>
                  <a:bodyPr/>
                  <a:lstStyle/>
                  <a:p>
                    <a:r>
                      <a:rPr>
                        <a:solidFill>
                          <a:srgbClr val="FFFFFF"/>
                        </a:solidFill>
                      </a:rPr>
                      <a:t>9.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8.924678</c:v>
                </c:pt>
                <c:pt idx="1">
                  <c:v>18.063986</c:v>
                </c:pt>
                <c:pt idx="2">
                  <c:v>9.53923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St More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6</a:t>
                    </a:r>
                  </a:p>
                </c:rich>
              </c:tx>
              <c:showLegendKey val="0"/>
              <c:showVal val="1"/>
              <c:showCatName val="0"/>
              <c:showSerName val="0"/>
              <c:showPercent val="0"/>
              <c:showBubbleSize val="0"/>
            </c:dLbl>
            <c:dLbl>
              <c:idx val="2"/>
              <c:tx>
                <c:rich>
                  <a:bodyPr/>
                  <a:lstStyle/>
                  <a:p>
                    <a:r>
                      <a:rPr>
                        <a:solidFill>
                          <a:srgbClr val="FFFFFF"/>
                        </a:solidFill>
                      </a:rPr>
                      <a:t>9.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2.717863</c:v>
                </c:pt>
                <c:pt idx="1">
                  <c:v>13.589044</c:v>
                </c:pt>
                <c:pt idx="2">
                  <c:v>9.256562</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aprice Des Dieux</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9</a:t>
                    </a:r>
                  </a:p>
                </c:rich>
              </c:tx>
              <c:showLegendKey val="0"/>
              <c:showVal val="1"/>
              <c:showCatName val="0"/>
              <c:showSerName val="0"/>
              <c:showPercent val="0"/>
              <c:showBubbleSize val="0"/>
            </c:dLbl>
            <c:dLbl>
              <c:idx val="2"/>
              <c:tx>
                <c:rich>
                  <a:bodyPr/>
                  <a:lstStyle/>
                  <a:p>
                    <a:r>
                      <a:rPr>
                        <a:solidFill>
                          <a:srgbClr val="FFFFFF"/>
                        </a:solidFill>
                      </a:rPr>
                      <a:t>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3.997161</c:v>
                </c:pt>
                <c:pt idx="1">
                  <c:v>13.915424</c:v>
                </c:pt>
                <c:pt idx="2">
                  <c:v>8.174282</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Galbani</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1</a:t>
                    </a:r>
                  </a:p>
                </c:rich>
              </c:tx>
              <c:showLegendKey val="0"/>
              <c:showVal val="1"/>
              <c:showCatName val="0"/>
              <c:showSerName val="0"/>
              <c:showPercent val="0"/>
              <c:showBubbleSize val="0"/>
            </c:dLbl>
            <c:dLbl>
              <c:idx val="2"/>
              <c:tx>
                <c:rich>
                  <a:bodyPr/>
                  <a:lstStyle/>
                  <a:p>
                    <a:r>
                      <a:rPr>
                        <a:solidFill>
                          <a:srgbClr val="FFFFFF"/>
                        </a:solidFill>
                      </a:rPr>
                      <a:t>7.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3.201378</c:v>
                </c:pt>
                <c:pt idx="1">
                  <c:v>13.140147</c:v>
                </c:pt>
                <c:pt idx="2">
                  <c:v>7.049187</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oeur De Li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8.7</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9.098471</c:v>
                </c:pt>
                <c:pt idx="1">
                  <c:v>18.671879</c:v>
                </c:pt>
                <c:pt idx="2">
                  <c:v>10.07612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La Vache Qui Ri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3.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9</a:t>
                    </a:r>
                  </a:p>
                </c:rich>
              </c:tx>
              <c:showLegendKey val="0"/>
              <c:showVal val="1"/>
              <c:showCatName val="0"/>
              <c:showSerName val="0"/>
              <c:showPercent val="0"/>
              <c:showBubbleSize val="0"/>
            </c:dLbl>
            <c:dLbl>
              <c:idx val="2"/>
              <c:tx>
                <c:rich>
                  <a:bodyPr/>
                  <a:lstStyle/>
                  <a:p>
                    <a:r>
                      <a:rPr>
                        <a:solidFill>
                          <a:srgbClr val="FFFFFF"/>
                        </a:solidFill>
                      </a:rPr>
                      <a:t>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3.383333</c:v>
                </c:pt>
                <c:pt idx="1">
                  <c:v>14.906364</c:v>
                </c:pt>
                <c:pt idx="2">
                  <c:v>8.3487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232.5</a:t>
                    </a:r>
                  </a:p>
                </c:rich>
              </c:tx>
              <c:showLegendKey val="0"/>
              <c:showVal val="1"/>
              <c:showCatName val="0"/>
              <c:showSerName val="0"/>
              <c:showPercent val="0"/>
              <c:showBubbleSize val="0"/>
            </c:dLbl>
            <c:dLbl>
              <c:idx val="1"/>
              <c:tx>
                <c:rich>
                  <a:bodyPr/>
                  <a:lstStyle/>
                  <a:p>
                    <a:r>
                      <a:rPr>
                        <a:solidFill>
                          <a:srgbClr val="FFFFFF"/>
                        </a:solidFill>
                      </a:rPr>
                      <a:t>230.0</a:t>
                    </a:r>
                  </a:p>
                </c:rich>
              </c:tx>
              <c:showLegendKey val="0"/>
              <c:showVal val="1"/>
              <c:showCatName val="0"/>
              <c:showSerName val="0"/>
              <c:showPercent val="0"/>
              <c:showBubbleSize val="0"/>
            </c:dLbl>
            <c:dLbl>
              <c:idx val="2"/>
              <c:tx>
                <c:rich>
                  <a:bodyPr/>
                  <a:lstStyle/>
                  <a:p>
                    <a:r>
                      <a:rPr>
                        <a:solidFill>
                          <a:srgbClr val="FFFFFF"/>
                        </a:solidFill>
                      </a:rPr>
                      <a:t>15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32.468081</c:v>
                </c:pt>
                <c:pt idx="1">
                  <c:v>230.043676</c:v>
                </c:pt>
                <c:pt idx="2">
                  <c:v>155.45155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a:solidFill>
                          <a:srgbClr val="FFFFFF"/>
                        </a:solidFill>
                      </a:rPr>
                      <a:t>233.6</a:t>
                    </a:r>
                  </a:p>
                </c:rich>
              </c:tx>
              <c:showLegendKey val="0"/>
              <c:showVal val="1"/>
              <c:showCatName val="0"/>
              <c:showSerName val="0"/>
              <c:showPercent val="0"/>
              <c:showBubbleSize val="0"/>
            </c:dLbl>
            <c:dLbl>
              <c:idx val="1"/>
              <c:tx>
                <c:rich>
                  <a:bodyPr/>
                  <a:lstStyle/>
                  <a:p>
                    <a:r>
                      <a:rPr>
                        <a:solidFill>
                          <a:srgbClr val="FFFFFF"/>
                        </a:solidFill>
                      </a:rPr>
                      <a:t>246.2</a:t>
                    </a:r>
                  </a:p>
                </c:rich>
              </c:tx>
              <c:showLegendKey val="0"/>
              <c:showVal val="1"/>
              <c:showCatName val="0"/>
              <c:showSerName val="0"/>
              <c:showPercent val="0"/>
              <c:showBubbleSize val="0"/>
            </c:dLbl>
            <c:dLbl>
              <c:idx val="2"/>
              <c:tx>
                <c:rich>
                  <a:bodyPr/>
                  <a:lstStyle/>
                  <a:p>
                    <a:r>
                      <a:rPr>
                        <a:solidFill>
                          <a:srgbClr val="FFFFFF"/>
                        </a:solidFill>
                      </a:rPr>
                      <a:t>15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33.623805</c:v>
                </c:pt>
                <c:pt idx="1">
                  <c:v>246.188472</c:v>
                </c:pt>
                <c:pt idx="2">
                  <c:v>152.596773</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tx>
                <c:rich>
                  <a:bodyPr/>
                  <a:lstStyle/>
                  <a:p>
                    <a:r>
                      <a:rPr>
                        <a:solidFill>
                          <a:srgbClr val="FFFFFF"/>
                        </a:solidFill>
                      </a:rPr>
                      <a:t>38.9</a:t>
                    </a:r>
                  </a:p>
                </c:rich>
              </c:tx>
              <c:showLegendKey val="0"/>
              <c:showVal val="1"/>
              <c:showCatName val="0"/>
              <c:showSerName val="0"/>
              <c:showPercent val="0"/>
              <c:showBubbleSize val="0"/>
            </c:dLbl>
            <c:dLbl>
              <c:idx val="1"/>
              <c:tx>
                <c:rich>
                  <a:bodyPr/>
                  <a:lstStyle/>
                  <a:p>
                    <a:r>
                      <a:rPr>
                        <a:solidFill>
                          <a:srgbClr val="FFFFFF"/>
                        </a:solidFill>
                      </a:rPr>
                      <a:t>39.1</a:t>
                    </a:r>
                  </a:p>
                </c:rich>
              </c:tx>
              <c:showLegendKey val="0"/>
              <c:showVal val="1"/>
              <c:showCatName val="0"/>
              <c:showSerName val="0"/>
              <c:showPercent val="0"/>
              <c:showBubbleSize val="0"/>
            </c:dLbl>
            <c:dLbl>
              <c:idx val="2"/>
              <c:tx>
                <c:rich>
                  <a:bodyPr/>
                  <a:lstStyle/>
                  <a:p>
                    <a:r>
                      <a:rPr>
                        <a:solidFill>
                          <a:srgbClr val="FFFFFF"/>
                        </a:solidFill>
                      </a:rPr>
                      <a:t>2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8.912958</c:v>
                </c:pt>
                <c:pt idx="1">
                  <c:v>39.144419</c:v>
                </c:pt>
                <c:pt idx="2">
                  <c:v>23.182495</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tx>
                <c:rich>
                  <a:bodyPr/>
                  <a:lstStyle/>
                  <a:p>
                    <a:r>
                      <a:rPr>
                        <a:solidFill>
                          <a:srgbClr val="FFFFFF"/>
                        </a:solidFill>
                      </a:rPr>
                      <a:t>35.2</a:t>
                    </a:r>
                  </a:p>
                </c:rich>
              </c:tx>
              <c:showLegendKey val="0"/>
              <c:showVal val="1"/>
              <c:showCatName val="0"/>
              <c:showSerName val="0"/>
              <c:showPercent val="0"/>
              <c:showBubbleSize val="0"/>
            </c:dLbl>
            <c:dLbl>
              <c:idx val="1"/>
              <c:tx>
                <c:rich>
                  <a:bodyPr/>
                  <a:lstStyle/>
                  <a:p>
                    <a:r>
                      <a:rPr>
                        <a:solidFill>
                          <a:srgbClr val="FFFFFF"/>
                        </a:solidFill>
                      </a:rPr>
                      <a:t>33.4</a:t>
                    </a:r>
                  </a:p>
                </c:rich>
              </c:tx>
              <c:showLegendKey val="0"/>
              <c:showVal val="1"/>
              <c:showCatName val="0"/>
              <c:showSerName val="0"/>
              <c:showPercent val="0"/>
              <c:showBubbleSize val="0"/>
            </c:dLbl>
            <c:dLbl>
              <c:idx val="2"/>
              <c:tx>
                <c:rich>
                  <a:bodyPr/>
                  <a:lstStyle/>
                  <a:p>
                    <a:r>
                      <a:rPr>
                        <a:solidFill>
                          <a:srgbClr val="FFFFFF"/>
                        </a:solidFill>
                      </a:rPr>
                      <a:t>2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5.233904</c:v>
                </c:pt>
                <c:pt idx="1">
                  <c:v>33.420054</c:v>
                </c:pt>
                <c:pt idx="2">
                  <c:v>20.103558</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aprice Des Dieux</c:v>
                </c:pt>
              </c:strCache>
            </c:strRef>
          </c:tx>
          <c:spPr>
            <a:solidFill>
              <a:srgbClr val="575555"/>
            </a:solidFill>
            <a:ln>
              <a:solidFill>
                <a:schemeClr val="bg1"/>
              </a:solidFill>
            </a:ln>
            <a:effectLst/>
          </c:spPr>
          <c:invertIfNegative val="0"/>
          <c:dLbls>
            <c:dLbl>
              <c:idx val="0"/>
              <c:tx>
                <c:rich>
                  <a:bodyPr/>
                  <a:lstStyle/>
                  <a:p>
                    <a:r>
                      <a:rPr>
                        <a:solidFill>
                          <a:srgbClr val="FFFFFF"/>
                        </a:solidFill>
                      </a:rPr>
                      <a:t>30.9</a:t>
                    </a:r>
                  </a:p>
                </c:rich>
              </c:tx>
              <c:showLegendKey val="0"/>
              <c:showVal val="1"/>
              <c:showCatName val="0"/>
              <c:showSerName val="0"/>
              <c:showPercent val="0"/>
              <c:showBubbleSize val="0"/>
            </c:dLbl>
            <c:dLbl>
              <c:idx val="1"/>
              <c:tx>
                <c:rich>
                  <a:bodyPr/>
                  <a:lstStyle/>
                  <a:p>
                    <a:r>
                      <a:rPr>
                        <a:solidFill>
                          <a:srgbClr val="FFFFFF"/>
                        </a:solidFill>
                      </a:rPr>
                      <a:t>30.7</a:t>
                    </a:r>
                  </a:p>
                </c:rich>
              </c:tx>
              <c:showLegendKey val="0"/>
              <c:showVal val="1"/>
              <c:showCatName val="0"/>
              <c:showSerName val="0"/>
              <c:showPercent val="0"/>
              <c:showBubbleSize val="0"/>
            </c:dLbl>
            <c:dLbl>
              <c:idx val="2"/>
              <c:tx>
                <c:rich>
                  <a:bodyPr/>
                  <a:lstStyle/>
                  <a:p>
                    <a:r>
                      <a:rPr>
                        <a:solidFill>
                          <a:srgbClr val="FFFFFF"/>
                        </a:solidFill>
                      </a:rPr>
                      <a:t>19.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30.855018</c:v>
                </c:pt>
                <c:pt idx="1">
                  <c:v>30.667442</c:v>
                </c:pt>
                <c:pt idx="2">
                  <c:v>19.469749</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 Vache Qui Rit</c:v>
                </c:pt>
              </c:strCache>
            </c:strRef>
          </c:tx>
          <c:spPr>
            <a:solidFill>
              <a:srgbClr val="B2DFDC"/>
            </a:solidFill>
            <a:ln>
              <a:solidFill>
                <a:schemeClr val="bg1"/>
              </a:solidFill>
            </a:ln>
            <a:effectLst/>
          </c:spPr>
          <c:invertIfNegative val="0"/>
          <c:dLbls>
            <c:dLbl>
              <c:idx val="0"/>
              <c:tx>
                <c:rich>
                  <a:bodyPr/>
                  <a:lstStyle/>
                  <a:p>
                    <a:r>
                      <a:rPr>
                        <a:solidFill>
                          <a:srgbClr val="FFFFFF"/>
                        </a:solidFill>
                      </a:rPr>
                      <a:t>28.6</a:t>
                    </a:r>
                  </a:p>
                </c:rich>
              </c:tx>
              <c:showLegendKey val="0"/>
              <c:showVal val="1"/>
              <c:showCatName val="0"/>
              <c:showSerName val="0"/>
              <c:showPercent val="0"/>
              <c:showBubbleSize val="0"/>
            </c:dLbl>
            <c:dLbl>
              <c:idx val="1"/>
              <c:tx>
                <c:rich>
                  <a:bodyPr/>
                  <a:lstStyle/>
                  <a:p>
                    <a:r>
                      <a:rPr>
                        <a:solidFill>
                          <a:srgbClr val="FFFFFF"/>
                        </a:solidFill>
                      </a:rPr>
                      <a:t>30.7</a:t>
                    </a:r>
                  </a:p>
                </c:rich>
              </c:tx>
              <c:showLegendKey val="0"/>
              <c:showVal val="1"/>
              <c:showCatName val="0"/>
              <c:showSerName val="0"/>
              <c:showPercent val="0"/>
              <c:showBubbleSize val="0"/>
            </c:dLbl>
            <c:dLbl>
              <c:idx val="2"/>
              <c:tx>
                <c:rich>
                  <a:bodyPr/>
                  <a:lstStyle/>
                  <a:p>
                    <a:r>
                      <a:rPr>
                        <a:solidFill>
                          <a:srgbClr val="FFFFFF"/>
                        </a:solidFill>
                      </a:rPr>
                      <a:t>1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8.606175</c:v>
                </c:pt>
                <c:pt idx="1">
                  <c:v>30.664652</c:v>
                </c:pt>
                <c:pt idx="2">
                  <c:v>18.2924</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St Moret</c:v>
                </c:pt>
              </c:strCache>
            </c:strRef>
          </c:tx>
          <c:spPr>
            <a:solidFill>
              <a:srgbClr val="575555"/>
            </a:solidFill>
            <a:ln>
              <a:solidFill>
                <a:schemeClr val="bg1"/>
              </a:solidFill>
            </a:ln>
            <a:effectLst/>
          </c:spPr>
          <c:invertIfNegative val="0"/>
          <c:dLbls>
            <c:dLbl>
              <c:idx val="0"/>
              <c:tx>
                <c:rich>
                  <a:bodyPr/>
                  <a:lstStyle/>
                  <a:p>
                    <a:r>
                      <a:rPr>
                        <a:solidFill>
                          <a:srgbClr val="FFFFFF"/>
                        </a:solidFill>
                      </a:rPr>
                      <a:t>26.4</a:t>
                    </a:r>
                  </a:p>
                </c:rich>
              </c:tx>
              <c:showLegendKey val="0"/>
              <c:showVal val="1"/>
              <c:showCatName val="0"/>
              <c:showSerName val="0"/>
              <c:showPercent val="0"/>
              <c:showBubbleSize val="0"/>
            </c:dLbl>
            <c:dLbl>
              <c:idx val="1"/>
              <c:tx>
                <c:rich>
                  <a:bodyPr/>
                  <a:lstStyle/>
                  <a:p>
                    <a:r>
                      <a:rPr>
                        <a:solidFill>
                          <a:srgbClr val="FFFFFF"/>
                        </a:solidFill>
                      </a:rPr>
                      <a:t>27.8</a:t>
                    </a:r>
                  </a:p>
                </c:rich>
              </c:tx>
              <c:showLegendKey val="0"/>
              <c:showVal val="1"/>
              <c:showCatName val="0"/>
              <c:showSerName val="0"/>
              <c:showPercent val="0"/>
              <c:showBubbleSize val="0"/>
            </c:dLbl>
            <c:dLbl>
              <c:idx val="2"/>
              <c:tx>
                <c:rich>
                  <a:bodyPr/>
                  <a:lstStyle/>
                  <a:p>
                    <a:r>
                      <a:rPr>
                        <a:solidFill>
                          <a:srgbClr val="FFFFFF"/>
                        </a:solidFill>
                      </a:rPr>
                      <a:t>18.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6.367336</c:v>
                </c:pt>
                <c:pt idx="1">
                  <c:v>27.761183</c:v>
                </c:pt>
                <c:pt idx="2">
                  <c:v>18.6254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Coeur De Lion</c:v>
                </c:pt>
              </c:strCache>
            </c:strRef>
          </c:tx>
          <c:spPr>
            <a:solidFill>
              <a:srgbClr val="575555"/>
            </a:solidFill>
            <a:ln>
              <a:solidFill>
                <a:schemeClr val="bg1"/>
              </a:solidFill>
            </a:ln>
            <a:effectLst/>
          </c:spPr>
          <c:invertIfNegative val="0"/>
          <c:dLbls>
            <c:dLbl>
              <c:idx val="0"/>
              <c:tx>
                <c:rich>
                  <a:bodyPr/>
                  <a:lstStyle/>
                  <a:p>
                    <a:r>
                      <a:rPr>
                        <a:solidFill>
                          <a:srgbClr val="FFFFFF"/>
                        </a:solidFill>
                      </a:rPr>
                      <a:t>25.5</a:t>
                    </a:r>
                  </a:p>
                </c:rich>
              </c:tx>
              <c:showLegendKey val="0"/>
              <c:showVal val="1"/>
              <c:showCatName val="0"/>
              <c:showSerName val="0"/>
              <c:showPercent val="0"/>
              <c:showBubbleSize val="0"/>
            </c:dLbl>
            <c:dLbl>
              <c:idx val="1"/>
              <c:tx>
                <c:rich>
                  <a:bodyPr/>
                  <a:lstStyle/>
                  <a:p>
                    <a:r>
                      <a:rPr>
                        <a:solidFill>
                          <a:srgbClr val="FFFFFF"/>
                        </a:solidFill>
                      </a:rPr>
                      <a:t>25.1</a:t>
                    </a:r>
                  </a:p>
                </c:rich>
              </c:tx>
              <c:showLegendKey val="0"/>
              <c:showVal val="1"/>
              <c:showCatName val="0"/>
              <c:showSerName val="0"/>
              <c:showPercent val="0"/>
              <c:showBubbleSize val="0"/>
            </c:dLbl>
            <c:dLbl>
              <c:idx val="2"/>
              <c:tx>
                <c:rich>
                  <a:bodyPr/>
                  <a:lstStyle/>
                  <a:p>
                    <a:r>
                      <a:rPr>
                        <a:solidFill>
                          <a:srgbClr val="FFFFFF"/>
                        </a:solidFill>
                      </a:rPr>
                      <a:t>1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5.509651</c:v>
                </c:pt>
                <c:pt idx="1">
                  <c:v>25.075607</c:v>
                </c:pt>
                <c:pt idx="2">
                  <c:v>15.213232</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Mini Babybel</c:v>
                </c:pt>
              </c:strCache>
            </c:strRef>
          </c:tx>
          <c:spPr>
            <a:solidFill>
              <a:srgbClr val="575555"/>
            </a:solidFill>
            <a:ln>
              <a:solidFill>
                <a:schemeClr val="bg1"/>
              </a:solidFill>
            </a:ln>
            <a:effectLst/>
          </c:spPr>
          <c:invertIfNegative val="0"/>
          <c:dLbls>
            <c:dLbl>
              <c:idx val="0"/>
              <c:tx>
                <c:rich>
                  <a:bodyPr/>
                  <a:lstStyle/>
                  <a:p>
                    <a:r>
                      <a:rPr>
                        <a:solidFill>
                          <a:srgbClr val="FFFFFF"/>
                        </a:solidFill>
                      </a:rPr>
                      <a:t>23.6</a:t>
                    </a:r>
                  </a:p>
                </c:rich>
              </c:tx>
              <c:showLegendKey val="0"/>
              <c:showVal val="1"/>
              <c:showCatName val="0"/>
              <c:showSerName val="0"/>
              <c:showPercent val="0"/>
              <c:showBubbleSize val="0"/>
            </c:dLbl>
            <c:dLbl>
              <c:idx val="1"/>
              <c:tx>
                <c:rich>
                  <a:bodyPr/>
                  <a:lstStyle/>
                  <a:p>
                    <a:r>
                      <a:rPr>
                        <a:solidFill>
                          <a:srgbClr val="FFFFFF"/>
                        </a:solidFill>
                      </a:rPr>
                      <a:t>23.1</a:t>
                    </a:r>
                  </a:p>
                </c:rich>
              </c:tx>
              <c:showLegendKey val="0"/>
              <c:showVal val="1"/>
              <c:showCatName val="0"/>
              <c:showSerName val="0"/>
              <c:showPercent val="0"/>
              <c:showBubbleSize val="0"/>
            </c:dLbl>
            <c:dLbl>
              <c:idx val="2"/>
              <c:tx>
                <c:rich>
                  <a:bodyPr/>
                  <a:lstStyle/>
                  <a:p>
                    <a:r>
                      <a:rPr>
                        <a:solidFill>
                          <a:srgbClr val="FFFFFF"/>
                        </a:solidFill>
                      </a:rPr>
                      <a:t>13.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3.567103</c:v>
                </c:pt>
                <c:pt idx="1">
                  <c:v>23.055122</c:v>
                </c:pt>
                <c:pt idx="2">
                  <c:v>13.49956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Kiri</c:v>
                </c:pt>
              </c:strCache>
            </c:strRef>
          </c:tx>
          <c:spPr>
            <a:solidFill>
              <a:srgbClr val="B2DFDC"/>
            </a:solidFill>
            <a:ln>
              <a:solidFill>
                <a:schemeClr val="bg1"/>
              </a:solidFill>
            </a:ln>
            <a:effectLst/>
          </c:spPr>
          <c:invertIfNegative val="0"/>
          <c:dLbls>
            <c:dLbl>
              <c:idx val="0"/>
              <c:tx>
                <c:rich>
                  <a:bodyPr/>
                  <a:lstStyle/>
                  <a:p>
                    <a:r>
                      <a:rPr>
                        <a:solidFill>
                          <a:srgbClr val="FFFFFF"/>
                        </a:solidFill>
                      </a:rPr>
                      <a:t>20.4</a:t>
                    </a:r>
                  </a:p>
                </c:rich>
              </c:tx>
              <c:showLegendKey val="0"/>
              <c:showVal val="1"/>
              <c:showCatName val="0"/>
              <c:showSerName val="0"/>
              <c:showPercent val="0"/>
              <c:showBubbleSize val="0"/>
            </c:dLbl>
            <c:dLbl>
              <c:idx val="1"/>
              <c:tx>
                <c:rich>
                  <a:bodyPr/>
                  <a:lstStyle/>
                  <a:p>
                    <a:r>
                      <a:rPr>
                        <a:solidFill>
                          <a:srgbClr val="FFFFFF"/>
                        </a:solidFill>
                      </a:rPr>
                      <a:t>22.0</a:t>
                    </a:r>
                  </a:p>
                </c:rich>
              </c:tx>
              <c:showLegendKey val="0"/>
              <c:showVal val="1"/>
              <c:showCatName val="0"/>
              <c:showSerName val="0"/>
              <c:showPercent val="0"/>
              <c:showBubbleSize val="0"/>
            </c:dLbl>
            <c:dLbl>
              <c:idx val="2"/>
              <c:tx>
                <c:rich>
                  <a:bodyPr/>
                  <a:lstStyle/>
                  <a:p>
                    <a:r>
                      <a:rPr>
                        <a:solidFill>
                          <a:srgbClr val="FFFFFF"/>
                        </a:solidFill>
                      </a:rPr>
                      <a:t>14.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0.410903</c:v>
                </c:pt>
                <c:pt idx="1">
                  <c:v>21.969333</c:v>
                </c:pt>
                <c:pt idx="2">
                  <c:v>14.03265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9898779870200923</c:v>
                </c:pt>
                <c:pt idx="1">
                  <c:v>0.15981893290970903</c:v>
                </c:pt>
                <c:pt idx="2">
                  <c:v>0.14162485401109812</c:v>
                </c:pt>
                <c:pt idx="3">
                  <c:v>0.09396142600857058</c:v>
                </c:pt>
                <c:pt idx="4">
                  <c:v>0.03987814194401651</c:v>
                </c:pt>
                <c:pt idx="5">
                  <c:v>0.031686296624193554</c:v>
                </c:pt>
                <c:pt idx="6">
                  <c:v>0.02088905125640198</c:v>
                </c:pt>
                <c:pt idx="7">
                  <c:v>0.1131534985440009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1643419156195114</c:v>
                </c:pt>
                <c:pt idx="1">
                  <c:v>-0.008094658396925442</c:v>
                </c:pt>
                <c:pt idx="2">
                  <c:v>-0.006325781412607118</c:v>
                </c:pt>
                <c:pt idx="3">
                  <c:v>0.0017747560007268792</c:v>
                </c:pt>
                <c:pt idx="4">
                  <c:v>-0.004633472213860616</c:v>
                </c:pt>
                <c:pt idx="5">
                  <c:v>0.001463180220611206</c:v>
                </c:pt>
                <c:pt idx="6">
                  <c:v>0.002446560973807358</c:v>
                </c:pt>
                <c:pt idx="7">
                  <c:v>-0.003064776733703402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9898779870200923</c:v>
                </c:pt>
                <c:pt idx="1">
                  <c:v>0.04515509747570463</c:v>
                </c:pt>
                <c:pt idx="2">
                  <c:v>0.04488005294906266</c:v>
                </c:pt>
                <c:pt idx="3">
                  <c:v>0.039769773581328584</c:v>
                </c:pt>
                <c:pt idx="4">
                  <c:v>0.03740547619553639</c:v>
                </c:pt>
                <c:pt idx="5">
                  <c:v>0.03617291267569779</c:v>
                </c:pt>
                <c:pt idx="6">
                  <c:v>0.030772817215510385</c:v>
                </c:pt>
                <c:pt idx="7">
                  <c:v>0.029398686580792786</c:v>
                </c:pt>
                <c:pt idx="8">
                  <c:v>0.027789824683968567</c:v>
                </c:pt>
                <c:pt idx="9">
                  <c:v>0.309667559940388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06959511722531286</c:v>
                </c:pt>
                <c:pt idx="1">
                  <c:v>-0.005031301428778195</c:v>
                </c:pt>
                <c:pt idx="2">
                  <c:v>-0.0015624847476360948</c:v>
                </c:pt>
                <c:pt idx="3">
                  <c:v>-0.008084483711176788</c:v>
                </c:pt>
                <c:pt idx="4">
                  <c:v>-0.005632530048761054</c:v>
                </c:pt>
                <c:pt idx="5">
                  <c:v>0.00701850230764578</c:v>
                </c:pt>
                <c:pt idx="6">
                  <c:v>0.003640595293056756</c:v>
                </c:pt>
                <c:pt idx="7">
                  <c:v>0.003419380970778454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6959511722531286</c:v>
                </c:pt>
                <c:pt idx="1">
                  <c:v>-0.004223690097855365</c:v>
                </c:pt>
                <c:pt idx="2">
                  <c:v>0.005042416041357953</c:v>
                </c:pt>
                <c:pt idx="3">
                  <c:v>0.0024100851265813975</c:v>
                </c:pt>
                <c:pt idx="4">
                  <c:v>-0.006774612830353535</c:v>
                </c:pt>
                <c:pt idx="5">
                  <c:v>-0.0012123834071347123</c:v>
                </c:pt>
                <c:pt idx="6">
                  <c:v>0.006105022898962611</c:v>
                </c:pt>
                <c:pt idx="7">
                  <c:v>-0.004163767712731328</c:v>
                </c:pt>
                <c:pt idx="8">
                  <c:v>-0.0018907647505551316</c:v>
                </c:pt>
                <c:pt idx="9">
                  <c:v>-0.001524626633143020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510622705597641</c:v>
                </c:pt>
                <c:pt idx="1">
                  <c:v>0.17048175556519352</c:v>
                </c:pt>
                <c:pt idx="2">
                  <c:v>0.13467894766909008</c:v>
                </c:pt>
                <c:pt idx="3">
                  <c:v>0.10621316177435423</c:v>
                </c:pt>
                <c:pt idx="4">
                  <c:v>0.04033220960500284</c:v>
                </c:pt>
                <c:pt idx="5">
                  <c:v>0.035878088061894284</c:v>
                </c:pt>
                <c:pt idx="6">
                  <c:v>0.022484933556330394</c:v>
                </c:pt>
                <c:pt idx="7">
                  <c:v>0.010432810658359121</c:v>
                </c:pt>
                <c:pt idx="8">
                  <c:v>0.128435822550011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0</c:f>
              <c:numCache>
                <c:formatCode>General</c:formatCode>
                <c:ptCount val="9"/>
                <c:pt idx="0">
                  <c:v>0.011847591622199338</c:v>
                </c:pt>
                <c:pt idx="1">
                  <c:v>-0.0032348799014859375</c:v>
                </c:pt>
                <c:pt idx="2">
                  <c:v>-0.006969487938203511</c:v>
                </c:pt>
                <c:pt idx="3">
                  <c:v>0.00178661016361642</c:v>
                </c:pt>
                <c:pt idx="4">
                  <c:v>-0.0030471988582506104</c:v>
                </c:pt>
                <c:pt idx="5">
                  <c:v>0.0016121799025872983</c:v>
                </c:pt>
                <c:pt idx="6">
                  <c:v>0.0022786689027949857</c:v>
                </c:pt>
                <c:pt idx="7">
                  <c:v>0.00045710782692176544</c:v>
                </c:pt>
                <c:pt idx="8">
                  <c:v>-0.00473059172017974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510622705597641</c:v>
                </c:pt>
                <c:pt idx="1">
                  <c:v>0.0419239452561048</c:v>
                </c:pt>
                <c:pt idx="2">
                  <c:v>0.03971133301253936</c:v>
                </c:pt>
                <c:pt idx="3">
                  <c:v>0.03906135205521252</c:v>
                </c:pt>
                <c:pt idx="4">
                  <c:v>0.0387331235018891</c:v>
                </c:pt>
                <c:pt idx="5">
                  <c:v>0.03753342247375059</c:v>
                </c:pt>
                <c:pt idx="6">
                  <c:v>0.033819033115323104</c:v>
                </c:pt>
                <c:pt idx="7">
                  <c:v>0.030568510908746793</c:v>
                </c:pt>
                <c:pt idx="8">
                  <c:v>0.03038037809499322</c:v>
                </c:pt>
                <c:pt idx="9">
                  <c:v>0.3572066310216764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0</c:f>
              <c:numCache>
                <c:formatCode>General</c:formatCode>
                <c:ptCount val="9"/>
                <c:pt idx="0">
                  <c:v>0.004660339983711681</c:v>
                </c:pt>
                <c:pt idx="1">
                  <c:v>-0.001863153201534934</c:v>
                </c:pt>
                <c:pt idx="2">
                  <c:v>-0.00773687291700853</c:v>
                </c:pt>
                <c:pt idx="3">
                  <c:v>-0.0070245660589938475</c:v>
                </c:pt>
                <c:pt idx="4">
                  <c:v>-0.0037520616916782296</c:v>
                </c:pt>
                <c:pt idx="5">
                  <c:v>0.008542942961377777</c:v>
                </c:pt>
                <c:pt idx="6">
                  <c:v>0.0030567404073762426</c:v>
                </c:pt>
                <c:pt idx="7">
                  <c:v>0.00016690167622677998</c:v>
                </c:pt>
                <c:pt idx="8">
                  <c:v>0.00394972884052307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4660339983711681</c:v>
                </c:pt>
                <c:pt idx="1">
                  <c:v>-0.005563767450042251</c:v>
                </c:pt>
                <c:pt idx="2">
                  <c:v>0.002483050274894663</c:v>
                </c:pt>
                <c:pt idx="3">
                  <c:v>0.0016297475034369596</c:v>
                </c:pt>
                <c:pt idx="4">
                  <c:v>-0.004192637959219078</c:v>
                </c:pt>
                <c:pt idx="5">
                  <c:v>-0.00032995391274925207</c:v>
                </c:pt>
                <c:pt idx="6">
                  <c:v>0.006483888014806597</c:v>
                </c:pt>
                <c:pt idx="7">
                  <c:v>-0.004071348868397322</c:v>
                </c:pt>
                <c:pt idx="8">
                  <c:v>-0.005067544262083133</c:v>
                </c:pt>
                <c:pt idx="9">
                  <c:v>0.00396829924059380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0.9</a:t>
                    </a:r>
                  </a:p>
                </c:rich>
              </c:tx>
              <c:showLegendKey val="0"/>
              <c:showVal val="1"/>
              <c:showCatName val="0"/>
              <c:showSerName val="0"/>
              <c:showPercent val="0"/>
              <c:showBubbleSize val="0"/>
            </c:dLbl>
            <c:dLbl>
              <c:idx val="2"/>
              <c:tx>
                <c:rich>
                  <a:bodyPr/>
                  <a:lstStyle/>
                  <a:p>
                    <a:r>
                      <a:rPr>
                        <a:solidFill>
                          <a:srgbClr val="FFFFFF"/>
                        </a:solidFill>
                      </a:rPr>
                      <a:t>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557546</c:v>
                </c:pt>
                <c:pt idx="1">
                  <c:v>10.937532</c:v>
                </c:pt>
                <c:pt idx="2">
                  <c:v>7.23784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4</a:t>
                    </a:r>
                  </a:p>
                </c:rich>
              </c:tx>
              <c:showLegendKey val="0"/>
              <c:showVal val="1"/>
              <c:showCatName val="0"/>
              <c:showSerName val="0"/>
              <c:showPercent val="0"/>
              <c:showBubbleSize val="0"/>
            </c:dLbl>
            <c:dLbl>
              <c:idx val="2"/>
              <c:tx>
                <c:rich>
                  <a:bodyPr/>
                  <a:lstStyle/>
                  <a:p>
                    <a:r>
                      <a:rPr>
                        <a:solidFill>
                          <a:srgbClr val="FFFFFF"/>
                        </a:solidFill>
                      </a:rPr>
                      <a:t>12.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7.714142</c:v>
                </c:pt>
                <c:pt idx="1">
                  <c:v>19.377649</c:v>
                </c:pt>
                <c:pt idx="2">
                  <c:v>12.03197</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0</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43179</c:v>
                </c:pt>
                <c:pt idx="1">
                  <c:v>3.966357</c:v>
                </c:pt>
                <c:pt idx="2">
                  <c:v>2.45292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7</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66907</c:v>
                </c:pt>
                <c:pt idx="1">
                  <c:v>2.699989</c:v>
                </c:pt>
                <c:pt idx="2">
                  <c:v>1.543755</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aprice Des Dieux</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982829</c:v>
                </c:pt>
                <c:pt idx="1">
                  <c:v>2.052949</c:v>
                </c:pt>
                <c:pt idx="2">
                  <c:v>1.232278</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St More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678248</c:v>
                </c:pt>
                <c:pt idx="1">
                  <c:v>1.97841</c:v>
                </c:pt>
                <c:pt idx="2">
                  <c:v>1.466755</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oeur De Li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8</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896572</c:v>
                </c:pt>
                <c:pt idx="1">
                  <c:v>2.774485</c:v>
                </c:pt>
                <c:pt idx="2">
                  <c:v>1.3882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Galbani</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494695</c:v>
                </c:pt>
                <c:pt idx="1">
                  <c:v>1.555583</c:v>
                </c:pt>
                <c:pt idx="2">
                  <c:v>1.180531</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 Vache Qui Ri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565805</c:v>
                </c:pt>
                <c:pt idx="1">
                  <c:v>1.922902</c:v>
                </c:pt>
                <c:pt idx="2">
                  <c:v>1.20744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Mini Babybe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126806</c:v>
                </c:pt>
                <c:pt idx="1">
                  <c:v>1.212951</c:v>
                </c:pt>
                <c:pt idx="2">
                  <c:v>0.64049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386530627117138</c:v>
                </c:pt>
                <c:pt idx="1">
                  <c:v>0.19357160103085916</c:v>
                </c:pt>
                <c:pt idx="2">
                  <c:v>0.1795969781598693</c:v>
                </c:pt>
                <c:pt idx="3">
                  <c:v>0.1113166380091699</c:v>
                </c:pt>
                <c:pt idx="4">
                  <c:v>0.04861518773596177</c:v>
                </c:pt>
                <c:pt idx="5">
                  <c:v>0.022320406658639106</c:v>
                </c:pt>
                <c:pt idx="6">
                  <c:v>0.021425777110198843</c:v>
                </c:pt>
                <c:pt idx="7">
                  <c:v>0.0845003485835881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10389898676995912</c:v>
                </c:pt>
                <c:pt idx="1">
                  <c:v>-0.018022814150592897</c:v>
                </c:pt>
                <c:pt idx="2">
                  <c:v>0.0004477761400032698</c:v>
                </c:pt>
                <c:pt idx="3">
                  <c:v>0.005287575054246013</c:v>
                </c:pt>
                <c:pt idx="4">
                  <c:v>-0.004869431281933928</c:v>
                </c:pt>
                <c:pt idx="5">
                  <c:v>0.002570294480683211</c:v>
                </c:pt>
                <c:pt idx="6">
                  <c:v>0.004880494845180496</c:v>
                </c:pt>
                <c:pt idx="7">
                  <c:v>-0.000683793764582101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86530627117138</c:v>
                </c:pt>
                <c:pt idx="1">
                  <c:v>0.06671196268645402</c:v>
                </c:pt>
                <c:pt idx="2">
                  <c:v>0.0567808680385393</c:v>
                </c:pt>
                <c:pt idx="3">
                  <c:v>0.04956864430466729</c:v>
                </c:pt>
                <c:pt idx="4">
                  <c:v>0.04750380496858499</c:v>
                </c:pt>
                <c:pt idx="5">
                  <c:v>0.04276021737972584</c:v>
                </c:pt>
                <c:pt idx="6">
                  <c:v>0.03734905724597007</c:v>
                </c:pt>
                <c:pt idx="7">
                  <c:v>0.03253625835392131</c:v>
                </c:pt>
                <c:pt idx="8">
                  <c:v>0.031246353318418643</c:v>
                </c:pt>
                <c:pt idx="9">
                  <c:v>0.2968897709920047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09245622496620531</c:v>
                </c:pt>
                <c:pt idx="1">
                  <c:v>0.00540990662315563</c:v>
                </c:pt>
                <c:pt idx="2">
                  <c:v>0.004048460882077554</c:v>
                </c:pt>
                <c:pt idx="3">
                  <c:v>-0.008885562773101555</c:v>
                </c:pt>
                <c:pt idx="4">
                  <c:v>-0.008131994115164812</c:v>
                </c:pt>
                <c:pt idx="5">
                  <c:v>0.001865338247921216</c:v>
                </c:pt>
                <c:pt idx="6">
                  <c:v>0.006130332634484734</c:v>
                </c:pt>
                <c:pt idx="7">
                  <c:v>0.01079182672178896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9245622496620531</c:v>
                </c:pt>
                <c:pt idx="1">
                  <c:v>0.014351960879716838</c:v>
                </c:pt>
                <c:pt idx="2">
                  <c:v>-0.011339471987399714</c:v>
                </c:pt>
                <c:pt idx="3">
                  <c:v>0.007440635713819969</c:v>
                </c:pt>
                <c:pt idx="4">
                  <c:v>-0.008000131141634344</c:v>
                </c:pt>
                <c:pt idx="5">
                  <c:v>-0.0007538698700519583</c:v>
                </c:pt>
                <c:pt idx="6">
                  <c:v>-0.004413443918646592</c:v>
                </c:pt>
                <c:pt idx="7">
                  <c:v>0.0009965300783339806</c:v>
                </c:pt>
                <c:pt idx="8">
                  <c:v>0.0026897786644583983</c:v>
                </c:pt>
                <c:pt idx="9">
                  <c:v>0.0102564052368126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67528016868896</c:v>
                </c:pt>
                <c:pt idx="1">
                  <c:v>0.2162575919410371</c:v>
                </c:pt>
                <c:pt idx="2">
                  <c:v>0.06756668017905085</c:v>
                </c:pt>
                <c:pt idx="3">
                  <c:v>0.012148220824118447</c:v>
                </c:pt>
                <c:pt idx="4">
                  <c:v>0.0287473383668335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06496352583995835</c:v>
                </c:pt>
                <c:pt idx="1">
                  <c:v>-0.01997901550467296</c:v>
                </c:pt>
                <c:pt idx="2">
                  <c:v>0.012934717455162843</c:v>
                </c:pt>
                <c:pt idx="3">
                  <c:v>-0.0019920678828798943</c:v>
                </c:pt>
                <c:pt idx="4">
                  <c:v>0.00290708454131438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87042502292212</c:v>
                </c:pt>
                <c:pt idx="1">
                  <c:v>0.16318977189908423</c:v>
                </c:pt>
                <c:pt idx="2">
                  <c:v>0.08823766639674804</c:v>
                </c:pt>
                <c:pt idx="3">
                  <c:v>0.06756668017905085</c:v>
                </c:pt>
                <c:pt idx="4">
                  <c:v>0.05200002237642046</c:v>
                </c:pt>
                <c:pt idx="5">
                  <c:v>0.0419633568564844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3439903130883981</c:v>
                </c:pt>
                <c:pt idx="1">
                  <c:v>0.023629650874920166</c:v>
                </c:pt>
                <c:pt idx="2">
                  <c:v>0.0057247232805719694</c:v>
                </c:pt>
                <c:pt idx="3">
                  <c:v>0.001088059970338548</c:v>
                </c:pt>
                <c:pt idx="4">
                  <c:v>0.00395659718300913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2240660631728797</c:v>
                </c:pt>
                <c:pt idx="1">
                  <c:v>0.020919549963927864</c:v>
                </c:pt>
                <c:pt idx="2">
                  <c:v>-0.011992424991551856</c:v>
                </c:pt>
                <c:pt idx="3">
                  <c:v>0.0057247232805719694</c:v>
                </c:pt>
                <c:pt idx="4">
                  <c:v>0.0016423032454598932</c:v>
                </c:pt>
                <c:pt idx="5">
                  <c:v>0.00611245481888008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43.1</a:t>
                    </a:r>
                  </a:p>
                </c:rich>
              </c:tx>
              <c:showLegendKey val="0"/>
              <c:showVal val="1"/>
              <c:showCatName val="0"/>
              <c:showSerName val="0"/>
              <c:showPercent val="0"/>
              <c:showBubbleSize val="0"/>
            </c:dLbl>
            <c:dLbl>
              <c:idx val="1"/>
              <c:tx>
                <c:rich>
                  <a:bodyPr/>
                  <a:lstStyle/>
                  <a:p>
                    <a:r>
                      <a:rPr>
                        <a:solidFill>
                          <a:srgbClr val="FFFFFF"/>
                        </a:solidFill>
                      </a:rPr>
                      <a:t>151.6</a:t>
                    </a:r>
                  </a:p>
                </c:rich>
              </c:tx>
              <c:showLegendKey val="0"/>
              <c:showVal val="1"/>
              <c:showCatName val="0"/>
              <c:showSerName val="0"/>
              <c:showPercent val="0"/>
              <c:showBubbleSize val="0"/>
            </c:dLbl>
            <c:dLbl>
              <c:idx val="2"/>
              <c:tx>
                <c:rich>
                  <a:bodyPr/>
                  <a:lstStyle/>
                  <a:p>
                    <a:r>
                      <a:rPr>
                        <a:solidFill>
                          <a:srgbClr val="FFFFFF"/>
                        </a:solidFill>
                      </a:rPr>
                      <a:t>10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43.113335</c:v>
                </c:pt>
                <c:pt idx="1">
                  <c:v>151.630239</c:v>
                </c:pt>
                <c:pt idx="2">
                  <c:v>100.83089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a:solidFill>
                          <a:srgbClr val="FFFFFF"/>
                        </a:solidFill>
                      </a:rPr>
                      <a:t>159.4</a:t>
                    </a:r>
                  </a:p>
                </c:rich>
              </c:tx>
              <c:showLegendKey val="0"/>
              <c:showVal val="1"/>
              <c:showCatName val="0"/>
              <c:showSerName val="0"/>
              <c:showPercent val="0"/>
              <c:showBubbleSize val="0"/>
            </c:dLbl>
            <c:dLbl>
              <c:idx val="1"/>
              <c:tx>
                <c:rich>
                  <a:bodyPr/>
                  <a:lstStyle/>
                  <a:p>
                    <a:r>
                      <a:rPr>
                        <a:solidFill>
                          <a:srgbClr val="FFFFFF"/>
                        </a:solidFill>
                      </a:rPr>
                      <a:t>179.1</a:t>
                    </a:r>
                  </a:p>
                </c:rich>
              </c:tx>
              <c:showLegendKey val="0"/>
              <c:showVal val="1"/>
              <c:showCatName val="0"/>
              <c:showSerName val="0"/>
              <c:showPercent val="0"/>
              <c:showBubbleSize val="0"/>
            </c:dLbl>
            <c:dLbl>
              <c:idx val="2"/>
              <c:tx>
                <c:rich>
                  <a:bodyPr/>
                  <a:lstStyle/>
                  <a:p>
                    <a:r>
                      <a:rPr>
                        <a:solidFill>
                          <a:srgbClr val="FFFFFF"/>
                        </a:solidFill>
                      </a:rPr>
                      <a:t>11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59.379751</c:v>
                </c:pt>
                <c:pt idx="1">
                  <c:v>179.059334</c:v>
                </c:pt>
                <c:pt idx="2">
                  <c:v>114.22330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tx>
                <c:rich>
                  <a:bodyPr/>
                  <a:lstStyle/>
                  <a:p>
                    <a:r>
                      <a:rPr>
                        <a:solidFill>
                          <a:srgbClr val="FFFFFF"/>
                        </a:solidFill>
                      </a:rPr>
                      <a:t>32.5</a:t>
                    </a:r>
                  </a:p>
                </c:rich>
              </c:tx>
              <c:showLegendKey val="0"/>
              <c:showVal val="1"/>
              <c:showCatName val="0"/>
              <c:showSerName val="0"/>
              <c:showPercent val="0"/>
              <c:showBubbleSize val="0"/>
            </c:dLbl>
            <c:dLbl>
              <c:idx val="1"/>
              <c:tx>
                <c:rich>
                  <a:bodyPr/>
                  <a:lstStyle/>
                  <a:p>
                    <a:r>
                      <a:rPr>
                        <a:solidFill>
                          <a:srgbClr val="FFFFFF"/>
                        </a:solidFill>
                      </a:rPr>
                      <a:t>37.9</a:t>
                    </a:r>
                  </a:p>
                </c:rich>
              </c:tx>
              <c:showLegendKey val="0"/>
              <c:showVal val="1"/>
              <c:showCatName val="0"/>
              <c:showSerName val="0"/>
              <c:showPercent val="0"/>
              <c:showBubbleSize val="0"/>
            </c:dLbl>
            <c:dLbl>
              <c:idx val="2"/>
              <c:tx>
                <c:rich>
                  <a:bodyPr/>
                  <a:lstStyle/>
                  <a:p>
                    <a:r>
                      <a:rPr>
                        <a:solidFill>
                          <a:srgbClr val="FFFFFF"/>
                        </a:solidFill>
                      </a:rPr>
                      <a:t>2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32.523735</c:v>
                </c:pt>
                <c:pt idx="1">
                  <c:v>37.865629</c:v>
                </c:pt>
                <c:pt idx="2">
                  <c:v>23.16693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tx>
                <c:rich>
                  <a:bodyPr/>
                  <a:lstStyle/>
                  <a:p>
                    <a:r>
                      <a:rPr>
                        <a:solidFill>
                          <a:srgbClr val="FFFFFF"/>
                        </a:solidFill>
                      </a:rPr>
                      <a:t>33.1</a:t>
                    </a:r>
                  </a:p>
                </c:rich>
              </c:tx>
              <c:showLegendKey val="0"/>
              <c:showVal val="1"/>
              <c:showCatName val="0"/>
              <c:showSerName val="0"/>
              <c:showPercent val="0"/>
              <c:showBubbleSize val="0"/>
            </c:dLbl>
            <c:dLbl>
              <c:idx val="1"/>
              <c:tx>
                <c:rich>
                  <a:bodyPr/>
                  <a:lstStyle/>
                  <a:p>
                    <a:r>
                      <a:rPr>
                        <a:solidFill>
                          <a:srgbClr val="FFFFFF"/>
                        </a:solidFill>
                      </a:rPr>
                      <a:t>33.4</a:t>
                    </a:r>
                  </a:p>
                </c:rich>
              </c:tx>
              <c:showLegendKey val="0"/>
              <c:showVal val="1"/>
              <c:showCatName val="0"/>
              <c:showSerName val="0"/>
              <c:showPercent val="0"/>
              <c:showBubbleSize val="0"/>
            </c:dLbl>
            <c:dLbl>
              <c:idx val="2"/>
              <c:tx>
                <c:rich>
                  <a:bodyPr/>
                  <a:lstStyle/>
                  <a:p>
                    <a:r>
                      <a:rPr>
                        <a:solidFill>
                          <a:srgbClr val="FFFFFF"/>
                        </a:solidFill>
                      </a:rPr>
                      <a:t>18.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3.11099</c:v>
                </c:pt>
                <c:pt idx="1">
                  <c:v>33.387134</c:v>
                </c:pt>
                <c:pt idx="2">
                  <c:v>18.80016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aprice Des Dieux</c:v>
                </c:pt>
              </c:strCache>
            </c:strRef>
          </c:tx>
          <c:spPr>
            <a:solidFill>
              <a:srgbClr val="575555"/>
            </a:solidFill>
            <a:ln>
              <a:solidFill>
                <a:schemeClr val="bg1"/>
              </a:solidFill>
            </a:ln>
            <a:effectLst/>
          </c:spPr>
          <c:invertIfNegative val="0"/>
          <c:dLbls>
            <c:dLbl>
              <c:idx val="0"/>
              <c:tx>
                <c:rich>
                  <a:bodyPr/>
                  <a:lstStyle/>
                  <a:p>
                    <a:r>
                      <a:rPr>
                        <a:solidFill>
                          <a:srgbClr val="FFFFFF"/>
                        </a:solidFill>
                      </a:rPr>
                      <a:t>26.1</a:t>
                    </a:r>
                  </a:p>
                </c:rich>
              </c:tx>
              <c:showLegendKey val="0"/>
              <c:showVal val="1"/>
              <c:showCatName val="0"/>
              <c:showSerName val="0"/>
              <c:showPercent val="0"/>
              <c:showBubbleSize val="0"/>
            </c:dLbl>
            <c:dLbl>
              <c:idx val="1"/>
              <c:tx>
                <c:rich>
                  <a:bodyPr/>
                  <a:lstStyle/>
                  <a:p>
                    <a:r>
                      <a:rPr>
                        <a:solidFill>
                          <a:srgbClr val="FFFFFF"/>
                        </a:solidFill>
                      </a:rPr>
                      <a:t>27.8</a:t>
                    </a:r>
                  </a:p>
                </c:rich>
              </c:tx>
              <c:showLegendKey val="0"/>
              <c:showVal val="1"/>
              <c:showCatName val="0"/>
              <c:showSerName val="0"/>
              <c:showPercent val="0"/>
              <c:showBubbleSize val="0"/>
            </c:dLbl>
            <c:dLbl>
              <c:idx val="2"/>
              <c:tx>
                <c:rich>
                  <a:bodyPr/>
                  <a:lstStyle/>
                  <a:p>
                    <a:r>
                      <a:rPr>
                        <a:solidFill>
                          <a:srgbClr val="FFFFFF"/>
                        </a:solidFill>
                      </a:rPr>
                      <a:t>16.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6.129636</c:v>
                </c:pt>
                <c:pt idx="1">
                  <c:v>27.757568</c:v>
                </c:pt>
                <c:pt idx="2">
                  <c:v>16.93075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St Moret</c:v>
                </c:pt>
              </c:strCache>
            </c:strRef>
          </c:tx>
          <c:spPr>
            <a:solidFill>
              <a:srgbClr val="575555"/>
            </a:solidFill>
            <a:ln>
              <a:solidFill>
                <a:schemeClr val="bg1"/>
              </a:solidFill>
            </a:ln>
            <a:effectLst/>
          </c:spPr>
          <c:invertIfNegative val="0"/>
          <c:dLbls>
            <c:dLbl>
              <c:idx val="0"/>
              <c:tx>
                <c:rich>
                  <a:bodyPr/>
                  <a:lstStyle/>
                  <a:p>
                    <a:r>
                      <a:rPr>
                        <a:solidFill>
                          <a:srgbClr val="FFFFFF"/>
                        </a:solidFill>
                      </a:rPr>
                      <a:t>21.7</a:t>
                    </a:r>
                  </a:p>
                </c:rich>
              </c:tx>
              <c:showLegendKey val="0"/>
              <c:showVal val="1"/>
              <c:showCatName val="0"/>
              <c:showSerName val="0"/>
              <c:showPercent val="0"/>
              <c:showBubbleSize val="0"/>
            </c:dLbl>
            <c:dLbl>
              <c:idx val="1"/>
              <c:tx>
                <c:rich>
                  <a:bodyPr/>
                  <a:lstStyle/>
                  <a:p>
                    <a:r>
                      <a:rPr>
                        <a:solidFill>
                          <a:srgbClr val="FFFFFF"/>
                        </a:solidFill>
                      </a:rPr>
                      <a:t>25.1</a:t>
                    </a:r>
                  </a:p>
                </c:rich>
              </c:tx>
              <c:showLegendKey val="0"/>
              <c:showVal val="1"/>
              <c:showCatName val="0"/>
              <c:showSerName val="0"/>
              <c:showPercent val="0"/>
              <c:showBubbleSize val="0"/>
            </c:dLbl>
            <c:dLbl>
              <c:idx val="2"/>
              <c:tx>
                <c:rich>
                  <a:bodyPr/>
                  <a:lstStyle/>
                  <a:p>
                    <a:r>
                      <a:rPr>
                        <a:solidFill>
                          <a:srgbClr val="FFFFFF"/>
                        </a:solidFill>
                      </a:rPr>
                      <a:t>18.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1.657387</c:v>
                </c:pt>
                <c:pt idx="1">
                  <c:v>25.08986</c:v>
                </c:pt>
                <c:pt idx="2">
                  <c:v>18.72066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oeur De Lion</c:v>
                </c:pt>
              </c:strCache>
            </c:strRef>
          </c:tx>
          <c:spPr>
            <a:solidFill>
              <a:srgbClr val="575555"/>
            </a:solidFill>
            <a:ln>
              <a:solidFill>
                <a:schemeClr val="bg1"/>
              </a:solidFill>
            </a:ln>
            <a:effectLst/>
          </c:spPr>
          <c:invertIfNegative val="0"/>
          <c:dLbls>
            <c:dLbl>
              <c:idx val="0"/>
              <c:tx>
                <c:rich>
                  <a:bodyPr/>
                  <a:lstStyle/>
                  <a:p>
                    <a:r>
                      <a:rPr>
                        <a:solidFill>
                          <a:srgbClr val="FFFFFF"/>
                        </a:solidFill>
                      </a:rPr>
                      <a:t>24.2</a:t>
                    </a:r>
                  </a:p>
                </c:rich>
              </c:tx>
              <c:showLegendKey val="0"/>
              <c:showVal val="1"/>
              <c:showCatName val="0"/>
              <c:showSerName val="0"/>
              <c:showPercent val="0"/>
              <c:showBubbleSize val="0"/>
            </c:dLbl>
            <c:dLbl>
              <c:idx val="1"/>
              <c:tx>
                <c:rich>
                  <a:bodyPr/>
                  <a:lstStyle/>
                  <a:p>
                    <a:r>
                      <a:rPr>
                        <a:solidFill>
                          <a:srgbClr val="FFFFFF"/>
                        </a:solidFill>
                      </a:rPr>
                      <a:t>23.7</a:t>
                    </a:r>
                  </a:p>
                </c:rich>
              </c:tx>
              <c:showLegendKey val="0"/>
              <c:showVal val="1"/>
              <c:showCatName val="0"/>
              <c:showSerName val="0"/>
              <c:showPercent val="0"/>
              <c:showBubbleSize val="0"/>
            </c:dLbl>
            <c:dLbl>
              <c:idx val="2"/>
              <c:tx>
                <c:rich>
                  <a:bodyPr/>
                  <a:lstStyle/>
                  <a:p>
                    <a:r>
                      <a:rPr>
                        <a:solidFill>
                          <a:srgbClr val="FFFFFF"/>
                        </a:solidFill>
                      </a:rPr>
                      <a:t>12.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4.174882</c:v>
                </c:pt>
                <c:pt idx="1">
                  <c:v>23.720103</c:v>
                </c:pt>
                <c:pt idx="2">
                  <c:v>12.167175</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Galbani</c:v>
                </c:pt>
              </c:strCache>
            </c:strRef>
          </c:tx>
          <c:spPr>
            <a:solidFill>
              <a:srgbClr val="575555"/>
            </a:solidFill>
            <a:ln>
              <a:solidFill>
                <a:schemeClr val="bg1"/>
              </a:solidFill>
            </a:ln>
            <a:effectLst/>
          </c:spPr>
          <c:invertIfNegative val="0"/>
          <c:dLbls>
            <c:dLbl>
              <c:idx val="0"/>
              <c:tx>
                <c:rich>
                  <a:bodyPr/>
                  <a:lstStyle/>
                  <a:p>
                    <a:r>
                      <a:rPr>
                        <a:solidFill>
                          <a:srgbClr val="FFFFFF"/>
                        </a:solidFill>
                      </a:rPr>
                      <a:t>18.1</a:t>
                    </a:r>
                  </a:p>
                </c:rich>
              </c:tx>
              <c:showLegendKey val="0"/>
              <c:showVal val="1"/>
              <c:showCatName val="0"/>
              <c:showSerName val="0"/>
              <c:showPercent val="0"/>
              <c:showBubbleSize val="0"/>
            </c:dLbl>
            <c:dLbl>
              <c:idx val="1"/>
              <c:tx>
                <c:rich>
                  <a:bodyPr/>
                  <a:lstStyle/>
                  <a:p>
                    <a:r>
                      <a:rPr>
                        <a:solidFill>
                          <a:srgbClr val="FFFFFF"/>
                        </a:solidFill>
                      </a:rPr>
                      <a:t>18.7</a:t>
                    </a:r>
                  </a:p>
                </c:rich>
              </c:tx>
              <c:showLegendKey val="0"/>
              <c:showVal val="1"/>
              <c:showCatName val="0"/>
              <c:showSerName val="0"/>
              <c:showPercent val="0"/>
              <c:showBubbleSize val="0"/>
            </c:dLbl>
            <c:dLbl>
              <c:idx val="2"/>
              <c:tx>
                <c:rich>
                  <a:bodyPr/>
                  <a:lstStyle/>
                  <a:p>
                    <a:r>
                      <a:rPr>
                        <a:solidFill>
                          <a:srgbClr val="FFFFFF"/>
                        </a:solidFill>
                      </a:rPr>
                      <a:t>1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8.138535</c:v>
                </c:pt>
                <c:pt idx="1">
                  <c:v>18.737305</c:v>
                </c:pt>
                <c:pt idx="2">
                  <c:v>15.66039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 Vache Qui Rit</c:v>
                </c:pt>
              </c:strCache>
            </c:strRef>
          </c:tx>
          <c:spPr>
            <a:solidFill>
              <a:srgbClr val="B2DFDC"/>
            </a:solidFill>
            <a:ln>
              <a:solidFill>
                <a:schemeClr val="bg1"/>
              </a:solidFill>
            </a:ln>
            <a:effectLst/>
          </c:spPr>
          <c:invertIfNegative val="0"/>
          <c:dLbls>
            <c:dLbl>
              <c:idx val="0"/>
              <c:tx>
                <c:rich>
                  <a:bodyPr/>
                  <a:lstStyle/>
                  <a:p>
                    <a:r>
                      <a:rPr>
                        <a:solidFill>
                          <a:srgbClr val="FFFFFF"/>
                        </a:solidFill>
                      </a:rPr>
                      <a:t>17.3</a:t>
                    </a:r>
                  </a:p>
                </c:rich>
              </c:tx>
              <c:showLegendKey val="0"/>
              <c:showVal val="1"/>
              <c:showCatName val="0"/>
              <c:showSerName val="0"/>
              <c:showPercent val="0"/>
              <c:showBubbleSize val="0"/>
            </c:dLbl>
            <c:dLbl>
              <c:idx val="1"/>
              <c:tx>
                <c:rich>
                  <a:bodyPr/>
                  <a:lstStyle/>
                  <a:p>
                    <a:r>
                      <a:rPr>
                        <a:solidFill>
                          <a:srgbClr val="FFFFFF"/>
                        </a:solidFill>
                      </a:rPr>
                      <a:t>20.3</a:t>
                    </a:r>
                  </a:p>
                </c:rich>
              </c:tx>
              <c:showLegendKey val="0"/>
              <c:showVal val="1"/>
              <c:showCatName val="0"/>
              <c:showSerName val="0"/>
              <c:showPercent val="0"/>
              <c:showBubbleSize val="0"/>
            </c:dLbl>
            <c:dLbl>
              <c:idx val="2"/>
              <c:tx>
                <c:rich>
                  <a:bodyPr/>
                  <a:lstStyle/>
                  <a:p>
                    <a:r>
                      <a:rPr>
                        <a:solidFill>
                          <a:srgbClr val="FFFFFF"/>
                        </a:solidFill>
                      </a:rPr>
                      <a:t>1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7.254324</c:v>
                </c:pt>
                <c:pt idx="1">
                  <c:v>20.287153</c:v>
                </c:pt>
                <c:pt idx="2">
                  <c:v>13.4389</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Mini Babybel</c:v>
                </c:pt>
              </c:strCache>
            </c:strRef>
          </c:tx>
          <c:spPr>
            <a:solidFill>
              <a:srgbClr val="575555"/>
            </a:solidFill>
            <a:ln>
              <a:solidFill>
                <a:schemeClr val="bg1"/>
              </a:solidFill>
            </a:ln>
            <a:effectLst/>
          </c:spPr>
          <c:invertIfNegative val="0"/>
          <c:dLbls>
            <c:dLbl>
              <c:idx val="0"/>
              <c:tx>
                <c:rich>
                  <a:bodyPr/>
                  <a:lstStyle/>
                  <a:p>
                    <a:r>
                      <a:rPr>
                        <a:solidFill>
                          <a:srgbClr val="FFFFFF"/>
                        </a:solidFill>
                      </a:rPr>
                      <a:t>18.4</a:t>
                    </a:r>
                  </a:p>
                </c:rich>
              </c:tx>
              <c:showLegendKey val="0"/>
              <c:showVal val="1"/>
              <c:showCatName val="0"/>
              <c:showSerName val="0"/>
              <c:showPercent val="0"/>
              <c:showBubbleSize val="0"/>
            </c:dLbl>
            <c:dLbl>
              <c:idx val="1"/>
              <c:tx>
                <c:rich>
                  <a:bodyPr/>
                  <a:lstStyle/>
                  <a:p>
                    <a:r>
                      <a:rPr>
                        <a:solidFill>
                          <a:srgbClr val="FFFFFF"/>
                        </a:solidFill>
                      </a:rPr>
                      <a:t>20.0</a:t>
                    </a:r>
                  </a:p>
                </c:rich>
              </c:tx>
              <c:showLegendKey val="0"/>
              <c:showVal val="1"/>
              <c:showCatName val="0"/>
              <c:showSerName val="0"/>
              <c:showPercent val="0"/>
              <c:showBubbleSize val="0"/>
            </c:dLbl>
            <c:dLbl>
              <c:idx val="2"/>
              <c:tx>
                <c:rich>
                  <a:bodyPr/>
                  <a:lstStyle/>
                  <a:p>
                    <a:r>
                      <a:rPr>
                        <a:solidFill>
                          <a:srgbClr val="FFFFFF"/>
                        </a:solidFill>
                      </a:rPr>
                      <a:t>1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8.405198</c:v>
                </c:pt>
                <c:pt idx="1">
                  <c:v>20.029187</c:v>
                </c:pt>
                <c:pt idx="2">
                  <c:v>11.18275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6933308746636515</c:v>
                </c:pt>
                <c:pt idx="1">
                  <c:v>0.20235702310098097</c:v>
                </c:pt>
                <c:pt idx="2">
                  <c:v>0.049042210667553085</c:v>
                </c:pt>
                <c:pt idx="3">
                  <c:v>0.02427066071086287</c:v>
                </c:pt>
                <c:pt idx="4">
                  <c:v>0.03099923085695152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1195602998100509</c:v>
                </c:pt>
                <c:pt idx="1">
                  <c:v>-0.013427713175870631</c:v>
                </c:pt>
                <c:pt idx="2">
                  <c:v>0.0031307649391293865</c:v>
                </c:pt>
                <c:pt idx="3">
                  <c:v>-0.005166095118313441</c:v>
                </c:pt>
                <c:pt idx="4">
                  <c:v>0.00350701337404955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932997692570855</c:v>
                </c:pt>
                <c:pt idx="1">
                  <c:v>0.16429710758540036</c:v>
                </c:pt>
                <c:pt idx="2">
                  <c:v>0.10003110540656611</c:v>
                </c:pt>
                <c:pt idx="3">
                  <c:v>0.049042210667553085</c:v>
                </c:pt>
                <c:pt idx="4">
                  <c:v>0.03391712180362832</c:v>
                </c:pt>
                <c:pt idx="5">
                  <c:v>0.012450800321244605</c:v>
                </c:pt>
                <c:pt idx="6">
                  <c:v>0.011819860389618268</c:v>
                </c:pt>
                <c:pt idx="7">
                  <c:v>0.03514202456890381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13479003161866121</c:v>
                </c:pt>
                <c:pt idx="1">
                  <c:v>-0.010871280991876175</c:v>
                </c:pt>
                <c:pt idx="2">
                  <c:v>-0.013642223136867512</c:v>
                </c:pt>
                <c:pt idx="3">
                  <c:v>0.007857292670834504</c:v>
                </c:pt>
                <c:pt idx="4">
                  <c:v>0.0031772082960429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12534079846822976</c:v>
                </c:pt>
                <c:pt idx="1">
                  <c:v>-0.015809296285546587</c:v>
                </c:pt>
                <c:pt idx="2">
                  <c:v>0.0009449233150432695</c:v>
                </c:pt>
                <c:pt idx="3">
                  <c:v>-0.013642223136867512</c:v>
                </c:pt>
                <c:pt idx="4">
                  <c:v>0.0007952215817181238</c:v>
                </c:pt>
                <c:pt idx="5">
                  <c:v>-0.003962567718783762</c:v>
                </c:pt>
                <c:pt idx="6">
                  <c:v>0.011819860389618268</c:v>
                </c:pt>
                <c:pt idx="7">
                  <c:v>0.007320002007995268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937706821491997</c:v>
                </c:pt>
                <c:pt idx="1">
                  <c:v>0.22447017612998366</c:v>
                </c:pt>
                <c:pt idx="2">
                  <c:v>0.07348363680211986</c:v>
                </c:pt>
                <c:pt idx="3">
                  <c:v>0.00827550491869683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20612273594695973</c:v>
                </c:pt>
                <c:pt idx="1">
                  <c:v>-0.027876643612773616</c:v>
                </c:pt>
                <c:pt idx="2">
                  <c:v>0.007688576598518425</c:v>
                </c:pt>
                <c:pt idx="3">
                  <c:v>0.00208230624197366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761758411035977</c:v>
                </c:pt>
                <c:pt idx="1">
                  <c:v>0.1437258079183278</c:v>
                </c:pt>
                <c:pt idx="2">
                  <c:v>0.11759484104560203</c:v>
                </c:pt>
                <c:pt idx="3">
                  <c:v>0.08074436821165584</c:v>
                </c:pt>
                <c:pt idx="4">
                  <c:v>0.07348363680211986</c:v>
                </c:pt>
                <c:pt idx="5">
                  <c:v>0.00827550491869683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6583440874016078</c:v>
                </c:pt>
                <c:pt idx="1">
                  <c:v>0.058561437150990575</c:v>
                </c:pt>
                <c:pt idx="2">
                  <c:v>0.0017136362695813756</c:v>
                </c:pt>
                <c:pt idx="3">
                  <c:v>0.00555933531958891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6257873780638201</c:v>
                </c:pt>
                <c:pt idx="1">
                  <c:v>0.051657270995826454</c:v>
                </c:pt>
                <c:pt idx="2">
                  <c:v>-0.0032556709337787926</c:v>
                </c:pt>
                <c:pt idx="3">
                  <c:v>0.006904166155164121</c:v>
                </c:pt>
                <c:pt idx="4">
                  <c:v>0.0017136362695813756</c:v>
                </c:pt>
                <c:pt idx="5">
                  <c:v>0.00555933531958891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1</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310071</c:v>
                </c:pt>
                <c:pt idx="1">
                  <c:v>3.052577</c:v>
                </c:pt>
                <c:pt idx="2">
                  <c:v>1.9049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Apericub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7.3</a:t>
                    </a:r>
                  </a:p>
                </c:rich>
              </c:tx>
              <c:showLegendKey val="0"/>
              <c:showVal val="1"/>
              <c:showCatName val="0"/>
              <c:showSerName val="0"/>
              <c:showPercent val="0"/>
              <c:showBubbleSize val="0"/>
            </c:dLbl>
            <c:dLbl>
              <c:idx val="2"/>
              <c:tx>
                <c:rich>
                  <a:bodyPr/>
                  <a:lstStyle/>
                  <a:p>
                    <a:r>
                      <a:rPr>
                        <a:solidFill>
                          <a:srgbClr val="FFFFFF"/>
                        </a:solidFill>
                      </a:rPr>
                      <a:t>4.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7.44427</c:v>
                </c:pt>
                <c:pt idx="1">
                  <c:v>7.261687</c:v>
                </c:pt>
                <c:pt idx="2">
                  <c:v>3.96510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7132325693032</c:v>
                </c:pt>
                <c:pt idx="1">
                  <c:v>0.4351302909141045</c:v>
                </c:pt>
                <c:pt idx="2">
                  <c:v>0.021354970406290398</c:v>
                </c:pt>
                <c:pt idx="3">
                  <c:v>0.015322460926377875</c:v>
                </c:pt>
                <c:pt idx="4">
                  <c:v>0.011277870438551189</c:v>
                </c:pt>
                <c:pt idx="5">
                  <c:v>0.04559115038435601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051820191395682835</c:v>
                </c:pt>
                <c:pt idx="1">
                  <c:v>0.005547930876138085</c:v>
                </c:pt>
                <c:pt idx="2">
                  <c:v>-0.00015378127603438152</c:v>
                </c:pt>
                <c:pt idx="3">
                  <c:v>0.0</c:v>
                </c:pt>
                <c:pt idx="4">
                  <c:v>0.0005945532201212019</c:v>
                </c:pt>
                <c:pt idx="5">
                  <c:v>0.000574674744029233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7132325693032</c:v>
                </c:pt>
                <c:pt idx="1">
                  <c:v>0.3478981228106663</c:v>
                </c:pt>
                <c:pt idx="2">
                  <c:v>0.054471415623889616</c:v>
                </c:pt>
                <c:pt idx="3">
                  <c:v>0.03276075247954859</c:v>
                </c:pt>
                <c:pt idx="4">
                  <c:v>0.021349189784337294</c:v>
                </c:pt>
                <c:pt idx="5">
                  <c:v>0.0721972623712381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8677511772308116</c:v>
                </c:pt>
                <c:pt idx="1">
                  <c:v>0.11635269675112331</c:v>
                </c:pt>
                <c:pt idx="2">
                  <c:v>-0.04508402090082058</c:v>
                </c:pt>
                <c:pt idx="3">
                  <c:v>0.015322460926377875</c:v>
                </c:pt>
                <c:pt idx="4">
                  <c:v>0.003744397675773445</c:v>
                </c:pt>
                <c:pt idx="5">
                  <c:v>-0.003479418569688799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8677511772308116</c:v>
                </c:pt>
                <c:pt idx="1">
                  <c:v>0.113485465414388</c:v>
                </c:pt>
                <c:pt idx="2">
                  <c:v>-0.003154754284013725</c:v>
                </c:pt>
                <c:pt idx="3">
                  <c:v>0.014339144404770323</c:v>
                </c:pt>
                <c:pt idx="4">
                  <c:v>0.004779173583956624</c:v>
                </c:pt>
                <c:pt idx="5">
                  <c:v>-0.03155530045530858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c:v>
                </c:pt>
                <c:pt idx="1">
                  <c:v>0</c:v>
                </c:pt>
                <c:pt idx="2">
                  <c:v>0</c:v>
                </c:pt>
                <c:pt idx="3">
                  <c:v>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04999460351341134</c:v>
                </c:pt>
                <c:pt idx="1">
                  <c:v>-0.006949637260863228</c:v>
                </c:pt>
                <c:pt idx="2">
                  <c:v>-0.01070089924266121</c:v>
                </c:pt>
                <c:pt idx="3">
                  <c:v>0.01265107615218330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c:f>
              <c:numCache>
                <c:formatCode>General</c:formatCode>
                <c:ptCount val="0"/>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c:v>
                </c:pt>
                <c:pt idx="1">
                  <c:v>0</c:v>
                </c:pt>
                <c:pt idx="2">
                  <c:v>0</c:v>
                </c:pt>
                <c:pt idx="3">
                  <c:v>0</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c:f>
              <c:numCache>
                <c:formatCode>General</c:formatCode>
                <c:ptCount val="0"/>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84.1</a:t>
                    </a:r>
                  </a:p>
                </c:rich>
              </c:tx>
              <c:showLegendKey val="0"/>
              <c:showVal val="1"/>
              <c:showCatName val="0"/>
              <c:showSerName val="0"/>
              <c:showPercent val="0"/>
              <c:showBubbleSize val="0"/>
            </c:dLbl>
            <c:dLbl>
              <c:idx val="1"/>
              <c:tx>
                <c:rich>
                  <a:bodyPr/>
                  <a:lstStyle/>
                  <a:p>
                    <a:r>
                      <a:rPr>
                        <a:solidFill>
                          <a:srgbClr val="FFFFFF"/>
                        </a:solidFill>
                      </a:rPr>
                      <a:t>78.3</a:t>
                    </a:r>
                  </a:p>
                </c:rich>
              </c:tx>
              <c:showLegendKey val="0"/>
              <c:showVal val="1"/>
              <c:showCatName val="0"/>
              <c:showSerName val="0"/>
              <c:showPercent val="0"/>
              <c:showBubbleSize val="0"/>
            </c:dLbl>
            <c:dLbl>
              <c:idx val="2"/>
              <c:tx>
                <c:rich>
                  <a:bodyPr/>
                  <a:lstStyle/>
                  <a:p>
                    <a:r>
                      <a:rPr>
                        <a:solidFill>
                          <a:srgbClr val="FFFFFF"/>
                        </a:solidFill>
                      </a:rPr>
                      <a:t>47.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4.057535</c:v>
                </c:pt>
                <c:pt idx="1">
                  <c:v>78.346993</c:v>
                </c:pt>
                <c:pt idx="2">
                  <c:v>47.26037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Apericube</c:v>
                </c:pt>
              </c:strCache>
            </c:strRef>
          </c:tx>
          <c:spPr>
            <a:solidFill>
              <a:srgbClr val="A6A6A6"/>
            </a:solidFill>
            <a:ln>
              <a:solidFill>
                <a:schemeClr val="bg1"/>
              </a:solidFill>
            </a:ln>
            <a:effectLst/>
          </c:spPr>
          <c:invertIfNegative val="0"/>
          <c:dLbls>
            <c:dLbl>
              <c:idx val="0"/>
              <c:tx>
                <c:rich>
                  <a:bodyPr/>
                  <a:lstStyle/>
                  <a:p>
                    <a:r>
                      <a:rPr>
                        <a:solidFill>
                          <a:srgbClr val="FFFFFF"/>
                        </a:solidFill>
                      </a:rPr>
                      <a:t>125.1</a:t>
                    </a:r>
                  </a:p>
                </c:rich>
              </c:tx>
              <c:showLegendKey val="0"/>
              <c:showVal val="1"/>
              <c:showCatName val="0"/>
              <c:showSerName val="0"/>
              <c:showPercent val="0"/>
              <c:showBubbleSize val="0"/>
            </c:dLbl>
            <c:dLbl>
              <c:idx val="1"/>
              <c:tx>
                <c:rich>
                  <a:bodyPr/>
                  <a:lstStyle/>
                  <a:p>
                    <a:r>
                      <a:rPr>
                        <a:solidFill>
                          <a:srgbClr val="FFFFFF"/>
                        </a:solidFill>
                      </a:rPr>
                      <a:t>122.7</a:t>
                    </a:r>
                  </a:p>
                </c:rich>
              </c:tx>
              <c:showLegendKey val="0"/>
              <c:showVal val="1"/>
              <c:showCatName val="0"/>
              <c:showSerName val="0"/>
              <c:showPercent val="0"/>
              <c:showBubbleSize val="0"/>
            </c:dLbl>
            <c:dLbl>
              <c:idx val="2"/>
              <c:tx>
                <c:rich>
                  <a:bodyPr/>
                  <a:lstStyle/>
                  <a:p>
                    <a:r>
                      <a:rPr>
                        <a:solidFill>
                          <a:srgbClr val="FFFFFF"/>
                        </a:solidFill>
                      </a:rPr>
                      <a:t>68.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5.138941</c:v>
                </c:pt>
                <c:pt idx="1">
                  <c:v>122.652838</c:v>
                </c:pt>
                <c:pt idx="2">
                  <c:v>68.019726</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7148417670046305</c:v>
                </c:pt>
                <c:pt idx="1">
                  <c:v>0.4351543327520289</c:v>
                </c:pt>
                <c:pt idx="2">
                  <c:v>0.021362260261146515</c:v>
                </c:pt>
                <c:pt idx="3">
                  <c:v>0.015327587220883452</c:v>
                </c:pt>
                <c:pt idx="4">
                  <c:v>0.011281053995854669</c:v>
                </c:pt>
                <c:pt idx="5">
                  <c:v>0.045390589069623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14770804244267688</c:v>
                </c:pt>
                <c:pt idx="1">
                  <c:v>0.03610119892085184</c:v>
                </c:pt>
                <c:pt idx="2">
                  <c:v>-0.009035372637553461</c:v>
                </c:pt>
                <c:pt idx="3">
                  <c:v>0.0</c:v>
                </c:pt>
                <c:pt idx="4">
                  <c:v>0.0010744450693488967</c:v>
                </c:pt>
                <c:pt idx="5">
                  <c:v>-0.0133694671083795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7148417670046305</c:v>
                </c:pt>
                <c:pt idx="1">
                  <c:v>0.3480211740150778</c:v>
                </c:pt>
                <c:pt idx="2">
                  <c:v>0.054439276656194656</c:v>
                </c:pt>
                <c:pt idx="3">
                  <c:v>0.032693882080756444</c:v>
                </c:pt>
                <c:pt idx="4">
                  <c:v>0.021356477565972556</c:v>
                </c:pt>
                <c:pt idx="5">
                  <c:v>0.0720050129815354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13863857342276686</c:v>
                </c:pt>
                <c:pt idx="1">
                  <c:v>-0.05278816446360679</c:v>
                </c:pt>
                <c:pt idx="2">
                  <c:v>0.001870249085704049</c:v>
                </c:pt>
                <c:pt idx="3">
                  <c:v>0.015327587220883452</c:v>
                </c:pt>
                <c:pt idx="4">
                  <c:v>0.0015668244941085662</c:v>
                </c:pt>
                <c:pt idx="5">
                  <c:v>0.02030209084397082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13863857342276686</c:v>
                </c:pt>
                <c:pt idx="1">
                  <c:v>-0.01571286428472385</c:v>
                </c:pt>
                <c:pt idx="2">
                  <c:v>-0.03622702769004343</c:v>
                </c:pt>
                <c:pt idx="3">
                  <c:v>-0.0008457157922668046</c:v>
                </c:pt>
                <c:pt idx="4">
                  <c:v>0.002110883241157161</c:v>
                </c:pt>
                <c:pt idx="5">
                  <c:v>0.0369558684035097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289875438250122</c:v>
                </c:pt>
                <c:pt idx="1">
                  <c:v>0.16099746565854658</c:v>
                </c:pt>
                <c:pt idx="2">
                  <c:v>0.0861979008727796</c:v>
                </c:pt>
                <c:pt idx="3">
                  <c:v>0.019218482025636575</c:v>
                </c:pt>
                <c:pt idx="4">
                  <c:v>0.00459860761802501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021544878289389002</c:v>
                </c:pt>
                <c:pt idx="1">
                  <c:v>0.0030836685349975024</c:v>
                </c:pt>
                <c:pt idx="2">
                  <c:v>0.0018778083771673892</c:v>
                </c:pt>
                <c:pt idx="3">
                  <c:v>-0.005873595582198153</c:v>
                </c:pt>
                <c:pt idx="4">
                  <c:v>-0.001242369158905606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6363737229116463</c:v>
                </c:pt>
                <c:pt idx="1">
                  <c:v>0.26089373181842807</c:v>
                </c:pt>
                <c:pt idx="2">
                  <c:v>0.20438609500688243</c:v>
                </c:pt>
                <c:pt idx="3">
                  <c:v>0.16099746565854658</c:v>
                </c:pt>
                <c:pt idx="4">
                  <c:v>0.0861979008727796</c:v>
                </c:pt>
                <c:pt idx="5">
                  <c:v>0.01920500943558822</c:v>
                </c:pt>
                <c:pt idx="6">
                  <c:v>0.00468242491661046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09755466752951358</c:v>
                </c:pt>
                <c:pt idx="1">
                  <c:v>-0.007630650141297796</c:v>
                </c:pt>
                <c:pt idx="2">
                  <c:v>0.012406012927430682</c:v>
                </c:pt>
                <c:pt idx="3">
                  <c:v>-0.013788556402876722</c:v>
                </c:pt>
                <c:pt idx="4">
                  <c:v>-0.000742273136207562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026156113732978548</c:v>
                </c:pt>
                <c:pt idx="1">
                  <c:v>0.010958106367685516</c:v>
                </c:pt>
                <c:pt idx="2">
                  <c:v>0.001382148579189585</c:v>
                </c:pt>
                <c:pt idx="3">
                  <c:v>-0.007630650141297796</c:v>
                </c:pt>
                <c:pt idx="4">
                  <c:v>0.012406012927430682</c:v>
                </c:pt>
                <c:pt idx="5">
                  <c:v>-0.013776254082601427</c:v>
                </c:pt>
                <c:pt idx="6">
                  <c:v>-0.000723752277108691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20739</c:v>
                </c:pt>
                <c:pt idx="1">
                  <c:v>0.501706</c:v>
                </c:pt>
                <c:pt idx="2">
                  <c:v>0.32480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Apericub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00178</c:v>
                </c:pt>
                <c:pt idx="1">
                  <c:v>1.179323</c:v>
                </c:pt>
                <c:pt idx="2">
                  <c:v>0.71589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829967728451062</c:v>
                </c:pt>
                <c:pt idx="1">
                  <c:v>0.10358334814043174</c:v>
                </c:pt>
                <c:pt idx="2">
                  <c:v>0.09572537917922513</c:v>
                </c:pt>
                <c:pt idx="3">
                  <c:v>0.017640743555211277</c:v>
                </c:pt>
                <c:pt idx="4">
                  <c:v>5.3756280025725276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05261118967287981</c:v>
                </c:pt>
                <c:pt idx="1">
                  <c:v>-0.0037726411377078384</c:v>
                </c:pt>
                <c:pt idx="2">
                  <c:v>0.0027522387566950024</c:v>
                </c:pt>
                <c:pt idx="3">
                  <c:v>-0.004244766615401661</c:v>
                </c:pt>
                <c:pt idx="4">
                  <c:v>4.050029126586435e-0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78751536034013</c:v>
                </c:pt>
                <c:pt idx="1">
                  <c:v>0.2757886139319489</c:v>
                </c:pt>
                <c:pt idx="2">
                  <c:v>0.22845662287914417</c:v>
                </c:pt>
                <c:pt idx="3">
                  <c:v>0.10358334814043174</c:v>
                </c:pt>
                <c:pt idx="4">
                  <c:v>0.09572537917922513</c:v>
                </c:pt>
                <c:pt idx="5">
                  <c:v>0.017640743555211277</c:v>
                </c:pt>
                <c:pt idx="6">
                  <c:v>5.3756280025725276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004213287853243042</c:v>
                </c:pt>
                <c:pt idx="1">
                  <c:v>0.007459732699290816</c:v>
                </c:pt>
                <c:pt idx="2">
                  <c:v>0.007641243203236087</c:v>
                </c:pt>
                <c:pt idx="3">
                  <c:v>-0.01472428637463968</c:v>
                </c:pt>
                <c:pt idx="4">
                  <c:v>4.543977649372401e-0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25400742970360102</c:v>
                </c:pt>
                <c:pt idx="1">
                  <c:v>0.006372680196070124</c:v>
                </c:pt>
                <c:pt idx="2">
                  <c:v>0.018606733988965563</c:v>
                </c:pt>
                <c:pt idx="3">
                  <c:v>0.007459732699290816</c:v>
                </c:pt>
                <c:pt idx="4">
                  <c:v>0.007641243203236087</c:v>
                </c:pt>
                <c:pt idx="5">
                  <c:v>-0.014720684038885181</c:v>
                </c:pt>
                <c:pt idx="6">
                  <c:v>4.543977649372401e-0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653687708117598</c:v>
                </c:pt>
                <c:pt idx="1">
                  <c:v>0.1258307547492551</c:v>
                </c:pt>
                <c:pt idx="2">
                  <c:v>0.0863831811789481</c:v>
                </c:pt>
                <c:pt idx="3">
                  <c:v>0.02241606414349526</c:v>
                </c:pt>
                <c:pt idx="4">
                  <c:v>1.229116541757698e-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11148375693849077</c:v>
                </c:pt>
                <c:pt idx="1">
                  <c:v>0.0030822445373458462</c:v>
                </c:pt>
                <c:pt idx="2">
                  <c:v>-0.002217369845993661</c:v>
                </c:pt>
                <c:pt idx="3">
                  <c:v>-0.011954768473472627</c:v>
                </c:pt>
                <c:pt idx="4">
                  <c:v>-5.84819117286876e-0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897948502065428</c:v>
                </c:pt>
                <c:pt idx="1">
                  <c:v>0.241380359332221</c:v>
                </c:pt>
                <c:pt idx="2">
                  <c:v>0.234193561272996</c:v>
                </c:pt>
                <c:pt idx="3">
                  <c:v>0.1258307547492551</c:v>
                </c:pt>
                <c:pt idx="4">
                  <c:v>0.0863831811789481</c:v>
                </c:pt>
                <c:pt idx="5">
                  <c:v>0.02241606414349526</c:v>
                </c:pt>
                <c:pt idx="6">
                  <c:v>1.229116541757698e-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10017840206605233</c:v>
                </c:pt>
                <c:pt idx="1">
                  <c:v>-0.00834448798289647</c:v>
                </c:pt>
                <c:pt idx="2">
                  <c:v>0.011781618705277677</c:v>
                </c:pt>
                <c:pt idx="3">
                  <c:v>-0.013456200045528218</c:v>
                </c:pt>
                <c:pt idx="4">
                  <c:v>1.229116541757698e-0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24643776628135772</c:v>
                </c:pt>
                <c:pt idx="1">
                  <c:v>-0.028919033111566933</c:v>
                </c:pt>
                <c:pt idx="2">
                  <c:v>0.014293096690036422</c:v>
                </c:pt>
                <c:pt idx="3">
                  <c:v>-0.00834448798289647</c:v>
                </c:pt>
                <c:pt idx="4">
                  <c:v>0.011781618705277677</c:v>
                </c:pt>
                <c:pt idx="5">
                  <c:v>-0.013456200045528218</c:v>
                </c:pt>
                <c:pt idx="6">
                  <c:v>1.229116541757698e-0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4.4</a:t>
                    </a:r>
                  </a:p>
                </c:rich>
              </c:tx>
              <c:showLegendKey val="0"/>
              <c:showVal val="1"/>
              <c:showCatName val="0"/>
              <c:showSerName val="0"/>
              <c:showPercent val="0"/>
              <c:showBubbleSize val="0"/>
            </c:dLbl>
            <c:dLbl>
              <c:idx val="1"/>
              <c:tx>
                <c:rich>
                  <a:bodyPr/>
                  <a:lstStyle/>
                  <a:p>
                    <a:r>
                      <a:rPr>
                        <a:solidFill>
                          <a:srgbClr val="FFFFFF"/>
                        </a:solidFill>
                      </a:rPr>
                      <a:t>13.6</a:t>
                    </a:r>
                  </a:p>
                </c:rich>
              </c:tx>
              <c:showLegendKey val="0"/>
              <c:showVal val="1"/>
              <c:showCatName val="0"/>
              <c:showSerName val="0"/>
              <c:showPercent val="0"/>
              <c:showBubbleSize val="0"/>
            </c:dLbl>
            <c:dLbl>
              <c:idx val="2"/>
              <c:tx>
                <c:rich>
                  <a:bodyPr/>
                  <a:lstStyle/>
                  <a:p>
                    <a:r>
                      <a:rPr>
                        <a:solidFill>
                          <a:srgbClr val="FFFFFF"/>
                        </a:solidFill>
                      </a:rPr>
                      <a:t>8.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4.358609</c:v>
                </c:pt>
                <c:pt idx="1">
                  <c:v>13.634858</c:v>
                </c:pt>
                <c:pt idx="2">
                  <c:v>8.65812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Apericube</c:v>
                </c:pt>
              </c:strCache>
            </c:strRef>
          </c:tx>
          <c:spPr>
            <a:solidFill>
              <a:srgbClr val="A6A6A6"/>
            </a:solidFill>
            <a:ln>
              <a:solidFill>
                <a:schemeClr val="bg1"/>
              </a:solidFill>
            </a:ln>
            <a:effectLst/>
          </c:spPr>
          <c:invertIfNegative val="0"/>
          <c:dLbls>
            <c:dLbl>
              <c:idx val="0"/>
              <c:tx>
                <c:rich>
                  <a:bodyPr/>
                  <a:lstStyle/>
                  <a:p>
                    <a:r>
                      <a:rPr>
                        <a:solidFill>
                          <a:srgbClr val="FFFFFF"/>
                        </a:solidFill>
                      </a:rPr>
                      <a:t>21.8</a:t>
                    </a:r>
                  </a:p>
                </c:rich>
              </c:tx>
              <c:showLegendKey val="0"/>
              <c:showVal val="1"/>
              <c:showCatName val="0"/>
              <c:showSerName val="0"/>
              <c:showPercent val="0"/>
              <c:showBubbleSize val="0"/>
            </c:dLbl>
            <c:dLbl>
              <c:idx val="1"/>
              <c:tx>
                <c:rich>
                  <a:bodyPr/>
                  <a:lstStyle/>
                  <a:p>
                    <a:r>
                      <a:rPr>
                        <a:solidFill>
                          <a:srgbClr val="FFFFFF"/>
                        </a:solidFill>
                      </a:rPr>
                      <a:t>21.4</a:t>
                    </a:r>
                  </a:p>
                </c:rich>
              </c:tx>
              <c:showLegendKey val="0"/>
              <c:showVal val="1"/>
              <c:showCatName val="0"/>
              <c:showSerName val="0"/>
              <c:showPercent val="0"/>
              <c:showBubbleSize val="0"/>
            </c:dLbl>
            <c:dLbl>
              <c:idx val="2"/>
              <c:tx>
                <c:rich>
                  <a:bodyPr/>
                  <a:lstStyle/>
                  <a:p>
                    <a:r>
                      <a:rPr>
                        <a:solidFill>
                          <a:srgbClr val="FFFFFF"/>
                        </a:solidFill>
                      </a:rPr>
                      <a:t>1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1.83984</c:v>
                </c:pt>
                <c:pt idx="1">
                  <c:v>21.441934</c:v>
                </c:pt>
                <c:pt idx="2">
                  <c:v>13.03632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7811822285026373</c:v>
                </c:pt>
                <c:pt idx="1">
                  <c:v>0.19234377259598257</c:v>
                </c:pt>
                <c:pt idx="2">
                  <c:v>0.15273247479266067</c:v>
                </c:pt>
                <c:pt idx="3">
                  <c:v>0.10045654377252046</c:v>
                </c:pt>
                <c:pt idx="4">
                  <c:v>0.044267364068319326</c:v>
                </c:pt>
                <c:pt idx="5">
                  <c:v>0.020008640466277573</c:v>
                </c:pt>
                <c:pt idx="6">
                  <c:v>0.01207298145397565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21116965181665226</c:v>
                </c:pt>
                <c:pt idx="1">
                  <c:v>0.010541091427868104</c:v>
                </c:pt>
                <c:pt idx="2">
                  <c:v>0.013678114131823571</c:v>
                </c:pt>
                <c:pt idx="3">
                  <c:v>-0.0008701859693648339</c:v>
                </c:pt>
                <c:pt idx="4">
                  <c:v>-0.0019640372499132794</c:v>
                </c:pt>
                <c:pt idx="5">
                  <c:v>-6.554988805154358e-05</c:v>
                </c:pt>
                <c:pt idx="6">
                  <c:v>-0.0002024672706967922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29611634591998715</c:v>
                </c:pt>
                <c:pt idx="1">
                  <c:v>0.19234377259598257</c:v>
                </c:pt>
                <c:pt idx="2">
                  <c:v>0.15136553389364915</c:v>
                </c:pt>
                <c:pt idx="3">
                  <c:v>0.10651841953118901</c:v>
                </c:pt>
                <c:pt idx="4">
                  <c:v>0.09325584622743983</c:v>
                </c:pt>
                <c:pt idx="5">
                  <c:v>0.06629975201573401</c:v>
                </c:pt>
                <c:pt idx="6">
                  <c:v>0.044267364068319326</c:v>
                </c:pt>
                <c:pt idx="7">
                  <c:v>0.01584634782776968</c:v>
                </c:pt>
                <c:pt idx="8">
                  <c:v>0.03398661791992927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19206097444708636</c:v>
                </c:pt>
                <c:pt idx="1">
                  <c:v>-0.019369529547557524</c:v>
                </c:pt>
                <c:pt idx="2">
                  <c:v>0.027754689690232717</c:v>
                </c:pt>
                <c:pt idx="3">
                  <c:v>-0.0279563664343236</c:v>
                </c:pt>
                <c:pt idx="4">
                  <c:v>0.0011614846631880296</c:v>
                </c:pt>
                <c:pt idx="5">
                  <c:v>0.0007197534381088062</c:v>
                </c:pt>
                <c:pt idx="6">
                  <c:v>-0.001516129254357111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0</c:f>
              <c:numCache>
                <c:formatCode>General</c:formatCode>
                <c:ptCount val="9"/>
                <c:pt idx="0">
                  <c:v>0.01693277614342059</c:v>
                </c:pt>
                <c:pt idx="1">
                  <c:v>-0.019369529547557524</c:v>
                </c:pt>
                <c:pt idx="2">
                  <c:v>0.026387748791221202</c:v>
                </c:pt>
                <c:pt idx="3">
                  <c:v>-0.007131726527071572</c:v>
                </c:pt>
                <c:pt idx="4">
                  <c:v>-0.024066225498486138</c:v>
                </c:pt>
                <c:pt idx="5">
                  <c:v>0.00835016924791375</c:v>
                </c:pt>
                <c:pt idx="6">
                  <c:v>0.0011614846631880296</c:v>
                </c:pt>
                <c:pt idx="7">
                  <c:v>0.0008160390087870745</c:v>
                </c:pt>
                <c:pt idx="8">
                  <c:v>-0.003080736281415426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884751483121521</c:v>
                </c:pt>
                <c:pt idx="1">
                  <c:v>0.16213784063548314</c:v>
                </c:pt>
                <c:pt idx="2">
                  <c:v>0.12966800019878572</c:v>
                </c:pt>
                <c:pt idx="3">
                  <c:v>0.11270341231064868</c:v>
                </c:pt>
                <c:pt idx="4">
                  <c:v>0.07082597692426837</c:v>
                </c:pt>
                <c:pt idx="5">
                  <c:v>0.02045274459494004</c:v>
                </c:pt>
                <c:pt idx="6">
                  <c:v>0.0157368770237219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11880980829830523</c:v>
                </c:pt>
                <c:pt idx="1">
                  <c:v>0.012862358575007948</c:v>
                </c:pt>
                <c:pt idx="2">
                  <c:v>0.008877522585220482</c:v>
                </c:pt>
                <c:pt idx="3">
                  <c:v>-0.0012643718906026336</c:v>
                </c:pt>
                <c:pt idx="4">
                  <c:v>-0.010574807378413542</c:v>
                </c:pt>
                <c:pt idx="5">
                  <c:v>0.001765058172454998</c:v>
                </c:pt>
                <c:pt idx="6">
                  <c:v>0.0002152207661632655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70859348380675</c:v>
                </c:pt>
                <c:pt idx="1">
                  <c:v>0.16043379926377807</c:v>
                </c:pt>
                <c:pt idx="2">
                  <c:v>0.12966800019878572</c:v>
                </c:pt>
                <c:pt idx="3">
                  <c:v>0.10616482532513906</c:v>
                </c:pt>
                <c:pt idx="4">
                  <c:v>0.10235644019547083</c:v>
                </c:pt>
                <c:pt idx="5">
                  <c:v>0.07424221878310637</c:v>
                </c:pt>
                <c:pt idx="6">
                  <c:v>0.07082597692426837</c:v>
                </c:pt>
                <c:pt idx="7">
                  <c:v>0.014652422694235665</c:v>
                </c:pt>
                <c:pt idx="8">
                  <c:v>0.010346095515999654</c:v>
                </c:pt>
                <c:pt idx="9">
                  <c:v>0.0342242862611487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10400351399100782</c:v>
                </c:pt>
                <c:pt idx="1">
                  <c:v>0.0241074210164767</c:v>
                </c:pt>
                <c:pt idx="2">
                  <c:v>-0.02529790207202781</c:v>
                </c:pt>
                <c:pt idx="3">
                  <c:v>-0.009475257100948375</c:v>
                </c:pt>
                <c:pt idx="4">
                  <c:v>-0.0013176793481519122</c:v>
                </c:pt>
                <c:pt idx="5">
                  <c:v>-0.00016697484005347846</c:v>
                </c:pt>
                <c:pt idx="6">
                  <c:v>0.001750040945604071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134454544063962</c:v>
                </c:pt>
                <c:pt idx="1">
                  <c:v>0.022403379644771626</c:v>
                </c:pt>
                <c:pt idx="2">
                  <c:v>-0.02529790207202781</c:v>
                </c:pt>
                <c:pt idx="3">
                  <c:v>-0.007571663426298211</c:v>
                </c:pt>
                <c:pt idx="4">
                  <c:v>-0.0016381527987664318</c:v>
                </c:pt>
                <c:pt idx="5">
                  <c:v>0.006348276808085251</c:v>
                </c:pt>
                <c:pt idx="6">
                  <c:v>-0.0013176793481519122</c:v>
                </c:pt>
                <c:pt idx="7">
                  <c:v>-0.0011255297933999344</c:v>
                </c:pt>
                <c:pt idx="8">
                  <c:v>-0.007837980901360146</c:v>
                </c:pt>
                <c:pt idx="9">
                  <c:v>0.00469270644650792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0.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0.5</a:t>
                    </a:r>
                  </a:p>
                </c:rich>
              </c:tx>
              <c:showLegendKey val="0"/>
              <c:showVal val="1"/>
              <c:showCatName val="0"/>
              <c:showSerName val="0"/>
              <c:showPercent val="0"/>
              <c:showBubbleSize val="0"/>
            </c:dLbl>
            <c:dLbl>
              <c:idx val="2"/>
              <c:tx>
                <c:rich>
                  <a:bodyPr/>
                  <a:lstStyle/>
                  <a:p>
                    <a:r>
                      <a:rPr>
                        <a:solidFill>
                          <a:srgbClr val="FFFFFF"/>
                        </a:solidFill>
                      </a:rPr>
                      <a:t>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84667</c:v>
                </c:pt>
                <c:pt idx="1">
                  <c:v>0.535682</c:v>
                </c:pt>
                <c:pt idx="2">
                  <c:v>0.37121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Apericube</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a:t>
                    </a:r>
                  </a:p>
                </c:rich>
              </c:tx>
              <c:showLegendKey val="0"/>
              <c:showVal val="1"/>
              <c:showCatName val="0"/>
              <c:showSerName val="0"/>
              <c:showPercent val="0"/>
              <c:showBubbleSize val="0"/>
            </c:dLbl>
            <c:dLbl>
              <c:idx val="2"/>
              <c:tx>
                <c:rich>
                  <a:bodyPr/>
                  <a:lstStyle/>
                  <a:p>
                    <a:r>
                      <a:rPr>
                        <a:solidFill>
                          <a:srgbClr val="FFFFFF"/>
                        </a:solidFill>
                      </a:rPr>
                      <a:t>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2862</c:v>
                </c:pt>
                <c:pt idx="1">
                  <c:v>1.324183</c:v>
                </c:pt>
                <c:pt idx="2">
                  <c:v>0.70493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327641343980166</c:v>
                </c:pt>
                <c:pt idx="1">
                  <c:v>0.1429643255150754</c:v>
                </c:pt>
                <c:pt idx="2">
                  <c:v>0.14290204190012662</c:v>
                </c:pt>
                <c:pt idx="3">
                  <c:v>0.14154369181989615</c:v>
                </c:pt>
                <c:pt idx="4">
                  <c:v>0.03541112975172889</c:v>
                </c:pt>
                <c:pt idx="5">
                  <c:v>0.0044146766151563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4318776859500345</c:v>
                </c:pt>
                <c:pt idx="1">
                  <c:v>0.028186621013422383</c:v>
                </c:pt>
                <c:pt idx="2">
                  <c:v>0.008412212768040467</c:v>
                </c:pt>
                <c:pt idx="3">
                  <c:v>0.005997778808454424</c:v>
                </c:pt>
                <c:pt idx="4">
                  <c:v>-0.0005302128607557605</c:v>
                </c:pt>
                <c:pt idx="5">
                  <c:v>0.001121368865841971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3495661866567283</c:v>
                </c:pt>
                <c:pt idx="1">
                  <c:v>0.14290204190012662</c:v>
                </c:pt>
                <c:pt idx="2">
                  <c:v>0.1426367440068825</c:v>
                </c:pt>
                <c:pt idx="3">
                  <c:v>0.1347789063774303</c:v>
                </c:pt>
                <c:pt idx="4">
                  <c:v>0.1150146018748184</c:v>
                </c:pt>
                <c:pt idx="5">
                  <c:v>0.07201400188506042</c:v>
                </c:pt>
                <c:pt idx="6">
                  <c:v>0.03541112975172889</c:v>
                </c:pt>
                <c:pt idx="7">
                  <c:v>0.02228595553828002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5888448856273143</c:v>
                </c:pt>
                <c:pt idx="1">
                  <c:v>0.03857495301711164</c:v>
                </c:pt>
                <c:pt idx="2">
                  <c:v>-0.05194657609086256</c:v>
                </c:pt>
                <c:pt idx="3">
                  <c:v>-0.0310744094576704</c:v>
                </c:pt>
                <c:pt idx="4">
                  <c:v>-0.012056496698223847</c:v>
                </c:pt>
                <c:pt idx="5">
                  <c:v>-0.00238195933308621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4184384015149606</c:v>
                </c:pt>
                <c:pt idx="1">
                  <c:v>-0.05194657609086256</c:v>
                </c:pt>
                <c:pt idx="2">
                  <c:v>0.03824737150891874</c:v>
                </c:pt>
                <c:pt idx="3">
                  <c:v>-0.025591011469155156</c:v>
                </c:pt>
                <c:pt idx="4">
                  <c:v>0.004606373446908438</c:v>
                </c:pt>
                <c:pt idx="5">
                  <c:v>0.009567502839361294</c:v>
                </c:pt>
                <c:pt idx="6">
                  <c:v>-0.012056496698223847</c:v>
                </c:pt>
                <c:pt idx="7">
                  <c:v>-0.002429387720367680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651194629824163</c:v>
                </c:pt>
                <c:pt idx="1">
                  <c:v>0.20190322657864404</c:v>
                </c:pt>
                <c:pt idx="2">
                  <c:v>0.09155281772669567</c:v>
                </c:pt>
                <c:pt idx="3">
                  <c:v>0.021661816114543295</c:v>
                </c:pt>
                <c:pt idx="4">
                  <c:v>0.0104760517529091</c:v>
                </c:pt>
                <c:pt idx="5">
                  <c:v>0.1092866248447915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28997452818310676</c:v>
                </c:pt>
                <c:pt idx="1">
                  <c:v>-0.02447855225275225</c:v>
                </c:pt>
                <c:pt idx="2">
                  <c:v>0.004528635041733162</c:v>
                </c:pt>
                <c:pt idx="3">
                  <c:v>-0.000867603106602069</c:v>
                </c:pt>
                <c:pt idx="4">
                  <c:v>-0.0012236843985210816</c:v>
                </c:pt>
                <c:pt idx="5">
                  <c:v>-0.006956248102168419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651194629824163</c:v>
                </c:pt>
                <c:pt idx="1">
                  <c:v>0.12967410454850634</c:v>
                </c:pt>
                <c:pt idx="2">
                  <c:v>0.08891345551936203</c:v>
                </c:pt>
                <c:pt idx="3">
                  <c:v>0.07018882622971151</c:v>
                </c:pt>
                <c:pt idx="4">
                  <c:v>0.02166167400993348</c:v>
                </c:pt>
                <c:pt idx="5">
                  <c:v>0.0104760517529091</c:v>
                </c:pt>
                <c:pt idx="6">
                  <c:v>0.1139664249571611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04289893106731335</c:v>
                </c:pt>
                <c:pt idx="1">
                  <c:v>-0.016705724060611854</c:v>
                </c:pt>
                <c:pt idx="2">
                  <c:v>0.00864039992190778</c:v>
                </c:pt>
                <c:pt idx="3">
                  <c:v>0.0036711519374058414</c:v>
                </c:pt>
                <c:pt idx="4">
                  <c:v>-0.005266282218532016</c:v>
                </c:pt>
                <c:pt idx="5">
                  <c:v>0.00781476487602088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04289893106731335</c:v>
                </c:pt>
                <c:pt idx="1">
                  <c:v>-0.004226197012309696</c:v>
                </c:pt>
                <c:pt idx="2">
                  <c:v>0.006001037714574137</c:v>
                </c:pt>
                <c:pt idx="3">
                  <c:v>-0.010787141460266575</c:v>
                </c:pt>
                <c:pt idx="4">
                  <c:v>0.003767923785606836</c:v>
                </c:pt>
                <c:pt idx="5">
                  <c:v>-0.005266282218532016</c:v>
                </c:pt>
                <c:pt idx="6">
                  <c:v>0.00866496964711795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4.2</a:t>
                    </a:r>
                  </a:p>
                </c:rich>
              </c:tx>
              <c:showLegendKey val="0"/>
              <c:showVal val="1"/>
              <c:showCatName val="0"/>
              <c:showSerName val="0"/>
              <c:showPercent val="0"/>
              <c:showBubbleSize val="0"/>
            </c:dLbl>
            <c:dLbl>
              <c:idx val="1"/>
              <c:tx>
                <c:rich>
                  <a:bodyPr/>
                  <a:lstStyle/>
                  <a:p>
                    <a:r>
                      <a:rPr>
                        <a:solidFill>
                          <a:srgbClr val="FFFFFF"/>
                        </a:solidFill>
                      </a:rPr>
                      <a:t>13.1</a:t>
                    </a:r>
                  </a:p>
                </c:rich>
              </c:tx>
              <c:showLegendKey val="0"/>
              <c:showVal val="1"/>
              <c:showCatName val="0"/>
              <c:showSerName val="0"/>
              <c:showPercent val="0"/>
              <c:showBubbleSize val="0"/>
            </c:dLbl>
            <c:dLbl>
              <c:idx val="2"/>
              <c:tx>
                <c:rich>
                  <a:bodyPr/>
                  <a:lstStyle/>
                  <a:p>
                    <a:r>
                      <a:rPr>
                        <a:solidFill>
                          <a:srgbClr val="FFFFFF"/>
                        </a:solidFill>
                      </a:rPr>
                      <a:t>9.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4.187807</c:v>
                </c:pt>
                <c:pt idx="1">
                  <c:v>13.093977</c:v>
                </c:pt>
                <c:pt idx="2">
                  <c:v>8.97604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Apericube</c:v>
                </c:pt>
              </c:strCache>
            </c:strRef>
          </c:tx>
          <c:spPr>
            <a:solidFill>
              <a:srgbClr val="A6A6A6"/>
            </a:solidFill>
            <a:ln>
              <a:solidFill>
                <a:schemeClr val="bg1"/>
              </a:solidFill>
            </a:ln>
            <a:effectLst/>
          </c:spPr>
          <c:invertIfNegative val="0"/>
          <c:dLbls>
            <c:dLbl>
              <c:idx val="0"/>
              <c:tx>
                <c:rich>
                  <a:bodyPr/>
                  <a:lstStyle/>
                  <a:p>
                    <a:r>
                      <a:rPr>
                        <a:solidFill>
                          <a:srgbClr val="FFFFFF"/>
                        </a:solidFill>
                      </a:rPr>
                      <a:t>20.6</a:t>
                    </a:r>
                  </a:p>
                </c:rich>
              </c:tx>
              <c:showLegendKey val="0"/>
              <c:showVal val="1"/>
              <c:showCatName val="0"/>
              <c:showSerName val="0"/>
              <c:showPercent val="0"/>
              <c:showBubbleSize val="0"/>
            </c:dLbl>
            <c:dLbl>
              <c:idx val="1"/>
              <c:tx>
                <c:rich>
                  <a:bodyPr/>
                  <a:lstStyle/>
                  <a:p>
                    <a:r>
                      <a:rPr>
                        <a:solidFill>
                          <a:srgbClr val="FFFFFF"/>
                        </a:solidFill>
                      </a:rPr>
                      <a:t>21.9</a:t>
                    </a:r>
                  </a:p>
                </c:rich>
              </c:tx>
              <c:showLegendKey val="0"/>
              <c:showVal val="1"/>
              <c:showCatName val="0"/>
              <c:showSerName val="0"/>
              <c:showPercent val="0"/>
              <c:showBubbleSize val="0"/>
            </c:dLbl>
            <c:dLbl>
              <c:idx val="2"/>
              <c:tx>
                <c:rich>
                  <a:bodyPr/>
                  <a:lstStyle/>
                  <a:p>
                    <a:r>
                      <a:rPr>
                        <a:solidFill>
                          <a:srgbClr val="FFFFFF"/>
                        </a:solidFill>
                      </a:rPr>
                      <a:t>1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0.573236</c:v>
                </c:pt>
                <c:pt idx="1">
                  <c:v>21.941512</c:v>
                </c:pt>
                <c:pt idx="2">
                  <c:v>12.52205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237334716855074</c:v>
                </c:pt>
                <c:pt idx="1">
                  <c:v>0.18613857317233173</c:v>
                </c:pt>
                <c:pt idx="2">
                  <c:v>0.09968495112324784</c:v>
                </c:pt>
                <c:pt idx="3">
                  <c:v>0.024235701196868683</c:v>
                </c:pt>
                <c:pt idx="4">
                  <c:v>0.016144620862610648</c:v>
                </c:pt>
                <c:pt idx="5">
                  <c:v>0.1500626819594336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19667218573067524</c:v>
                </c:pt>
                <c:pt idx="1">
                  <c:v>-0.018388093706605324</c:v>
                </c:pt>
                <c:pt idx="2">
                  <c:v>0.006713962146498942</c:v>
                </c:pt>
                <c:pt idx="3">
                  <c:v>0.0028015025907381468</c:v>
                </c:pt>
                <c:pt idx="4">
                  <c:v>-0.0008108977100785703</c:v>
                </c:pt>
                <c:pt idx="5">
                  <c:v>-0.00998369189362081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237334716855074</c:v>
                </c:pt>
                <c:pt idx="1">
                  <c:v>0.1085288811207007</c:v>
                </c:pt>
                <c:pt idx="2">
                  <c:v>0.09396399990213104</c:v>
                </c:pt>
                <c:pt idx="3">
                  <c:v>0.07490979364952201</c:v>
                </c:pt>
                <c:pt idx="4">
                  <c:v>0.024235701196868683</c:v>
                </c:pt>
                <c:pt idx="5">
                  <c:v>0.016144620862610648</c:v>
                </c:pt>
                <c:pt idx="6">
                  <c:v>0.158483531582659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0612542148230566</c:v>
                </c:pt>
                <c:pt idx="1">
                  <c:v>-0.021815276979494314</c:v>
                </c:pt>
                <c:pt idx="2">
                  <c:v>0.0132622070638891</c:v>
                </c:pt>
                <c:pt idx="3">
                  <c:v>0.003404909932586353</c:v>
                </c:pt>
                <c:pt idx="4">
                  <c:v>-0.002870022864424903</c:v>
                </c:pt>
                <c:pt idx="5">
                  <c:v>0.01414360432974942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0612542148230566</c:v>
                </c:pt>
                <c:pt idx="1">
                  <c:v>-0.009814810416832145</c:v>
                </c:pt>
                <c:pt idx="2">
                  <c:v>0.007541255842772307</c:v>
                </c:pt>
                <c:pt idx="3">
                  <c:v>-0.010774115758855396</c:v>
                </c:pt>
                <c:pt idx="4">
                  <c:v>0.0038226859737547428</c:v>
                </c:pt>
                <c:pt idx="5">
                  <c:v>-0.002870022864424903</c:v>
                </c:pt>
                <c:pt idx="6">
                  <c:v>0.01863820474705943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141424807476968</c:v>
                </c:pt>
                <c:pt idx="1">
                  <c:v>0.30270149766918647</c:v>
                </c:pt>
                <c:pt idx="2">
                  <c:v>0.0691320195613135</c:v>
                </c:pt>
                <c:pt idx="3">
                  <c:v>0.027078447437878853</c:v>
                </c:pt>
                <c:pt idx="4">
                  <c:v>0.014893791661692803</c:v>
                </c:pt>
                <c:pt idx="5">
                  <c:v>0.013750855203300237</c:v>
                </c:pt>
                <c:pt idx="6">
                  <c:v>0.0583009077189313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11659940380532308</c:v>
                </c:pt>
                <c:pt idx="1">
                  <c:v>-0.02715831843360872</c:v>
                </c:pt>
                <c:pt idx="2">
                  <c:v>0.011139961963213596</c:v>
                </c:pt>
                <c:pt idx="3">
                  <c:v>-0.003916327666269988</c:v>
                </c:pt>
                <c:pt idx="4">
                  <c:v>1.7545664954961724e-06</c:v>
                </c:pt>
                <c:pt idx="5">
                  <c:v>-0.0008596570634242517</c:v>
                </c:pt>
                <c:pt idx="6">
                  <c:v>0.00913264625306162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141424807476968</c:v>
                </c:pt>
                <c:pt idx="1">
                  <c:v>0.20662404498031436</c:v>
                </c:pt>
                <c:pt idx="2">
                  <c:v>0.09381987803679426</c:v>
                </c:pt>
                <c:pt idx="3">
                  <c:v>0.06873221084974702</c:v>
                </c:pt>
                <c:pt idx="4">
                  <c:v>0.027078447437878853</c:v>
                </c:pt>
                <c:pt idx="5">
                  <c:v>0.013750855203300237</c:v>
                </c:pt>
                <c:pt idx="6">
                  <c:v>0.0758520827442684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25242361173256844</c:v>
                </c:pt>
                <c:pt idx="1">
                  <c:v>0.005602064791268069</c:v>
                </c:pt>
                <c:pt idx="2">
                  <c:v>-0.005351894749810779</c:v>
                </c:pt>
                <c:pt idx="3">
                  <c:v>0.00711751527361322</c:v>
                </c:pt>
                <c:pt idx="4">
                  <c:v>0.014893791661692803</c:v>
                </c:pt>
                <c:pt idx="5">
                  <c:v>-0.006434663890920213</c:v>
                </c:pt>
                <c:pt idx="6">
                  <c:v>0.01663518630359483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25242361173256844</c:v>
                </c:pt>
                <c:pt idx="1">
                  <c:v>0.01596333392349658</c:v>
                </c:pt>
                <c:pt idx="2">
                  <c:v>-0.010164397001381928</c:v>
                </c:pt>
                <c:pt idx="3">
                  <c:v>-0.005751703461377253</c:v>
                </c:pt>
                <c:pt idx="4">
                  <c:v>0.007213954839699308</c:v>
                </c:pt>
                <c:pt idx="5">
                  <c:v>-0.006434663890920213</c:v>
                </c:pt>
                <c:pt idx="6">
                  <c:v>0.0317319145460074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8</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915328</c:v>
                </c:pt>
                <c:pt idx="1">
                  <c:v>12.774038</c:v>
                </c:pt>
                <c:pt idx="2">
                  <c:v>1.442469</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8</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3.316174</c:v>
                </c:pt>
                <c:pt idx="1">
                  <c:v>23.815442</c:v>
                </c:pt>
                <c:pt idx="2">
                  <c:v>1.72968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9898779870200923</c:v>
                </c:pt>
                <c:pt idx="1">
                  <c:v>0.04515509747570463</c:v>
                </c:pt>
                <c:pt idx="2">
                  <c:v>0.04488005294906266</c:v>
                </c:pt>
                <c:pt idx="3">
                  <c:v>0.039769773581328584</c:v>
                </c:pt>
                <c:pt idx="4">
                  <c:v>0.03740547619553639</c:v>
                </c:pt>
                <c:pt idx="5">
                  <c:v>0.03617291267569779</c:v>
                </c:pt>
                <c:pt idx="6">
                  <c:v>0.030772817215510385</c:v>
                </c:pt>
                <c:pt idx="7">
                  <c:v>0.029398686580792786</c:v>
                </c:pt>
                <c:pt idx="8">
                  <c:v>0.027789824683968567</c:v>
                </c:pt>
                <c:pt idx="9">
                  <c:v>0.309667559940388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87042502292212</c:v>
                </c:pt>
                <c:pt idx="1">
                  <c:v>0.16318977189908423</c:v>
                </c:pt>
                <c:pt idx="2">
                  <c:v>0.08823766639674804</c:v>
                </c:pt>
                <c:pt idx="3">
                  <c:v>0.06756668017905085</c:v>
                </c:pt>
                <c:pt idx="4">
                  <c:v>0.05200002237642046</c:v>
                </c:pt>
                <c:pt idx="5">
                  <c:v>0.0419633568564844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Ingredient A Chaud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7132325693032</c:v>
                </c:pt>
                <c:pt idx="1">
                  <c:v>0.3478981228106663</c:v>
                </c:pt>
                <c:pt idx="2">
                  <c:v>0.054471415623889616</c:v>
                </c:pt>
                <c:pt idx="3">
                  <c:v>0.03276075247954859</c:v>
                </c:pt>
                <c:pt idx="4">
                  <c:v>0.021349189784337294</c:v>
                </c:pt>
                <c:pt idx="5">
                  <c:v>0.0721972623712381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510622705597641</c:v>
                </c:pt>
                <c:pt idx="1">
                  <c:v>0.0419239452561048</c:v>
                </c:pt>
                <c:pt idx="2">
                  <c:v>0.03971133301253936</c:v>
                </c:pt>
                <c:pt idx="3">
                  <c:v>0.03906135205521252</c:v>
                </c:pt>
                <c:pt idx="4">
                  <c:v>0.0387331235018891</c:v>
                </c:pt>
                <c:pt idx="5">
                  <c:v>0.03753342247375059</c:v>
                </c:pt>
                <c:pt idx="6">
                  <c:v>0.033819033115323104</c:v>
                </c:pt>
                <c:pt idx="7">
                  <c:v>0.030568510908746793</c:v>
                </c:pt>
                <c:pt idx="8">
                  <c:v>0.03038037809499322</c:v>
                </c:pt>
                <c:pt idx="9">
                  <c:v>0.3572066310216764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932997692570855</c:v>
                </c:pt>
                <c:pt idx="1">
                  <c:v>0.16429710758540036</c:v>
                </c:pt>
                <c:pt idx="2">
                  <c:v>0.10003110540656611</c:v>
                </c:pt>
                <c:pt idx="3">
                  <c:v>0.049042210667553085</c:v>
                </c:pt>
                <c:pt idx="4">
                  <c:v>0.03391712180362832</c:v>
                </c:pt>
                <c:pt idx="5">
                  <c:v>0.012450800321244605</c:v>
                </c:pt>
                <c:pt idx="6">
                  <c:v>0.011819860389618268</c:v>
                </c:pt>
                <c:pt idx="7">
                  <c:v>0.03514202456890381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Ingredient A Chaud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c:f>
              <c:numCache>
                <c:formatCode>General</c:formatCode>
                <c:ptCount val="0"/>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86530627117138</c:v>
                </c:pt>
                <c:pt idx="1">
                  <c:v>0.06671196268645402</c:v>
                </c:pt>
                <c:pt idx="2">
                  <c:v>0.0567808680385393</c:v>
                </c:pt>
                <c:pt idx="3">
                  <c:v>0.04956864430466729</c:v>
                </c:pt>
                <c:pt idx="4">
                  <c:v>0.04750380496858499</c:v>
                </c:pt>
                <c:pt idx="5">
                  <c:v>0.04276021737972584</c:v>
                </c:pt>
                <c:pt idx="6">
                  <c:v>0.03734905724597007</c:v>
                </c:pt>
                <c:pt idx="7">
                  <c:v>0.03253625835392131</c:v>
                </c:pt>
                <c:pt idx="8">
                  <c:v>0.031246353318418643</c:v>
                </c:pt>
                <c:pt idx="9">
                  <c:v>0.2968897709920047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761758411035977</c:v>
                </c:pt>
                <c:pt idx="1">
                  <c:v>0.1437258079183278</c:v>
                </c:pt>
                <c:pt idx="2">
                  <c:v>0.11759484104560203</c:v>
                </c:pt>
                <c:pt idx="3">
                  <c:v>0.08074436821165584</c:v>
                </c:pt>
                <c:pt idx="4">
                  <c:v>0.07348363680211986</c:v>
                </c:pt>
                <c:pt idx="5">
                  <c:v>0.00827550491869683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Ingredient A Chaud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47148417670046305</c:v>
                </c:pt>
                <c:pt idx="1">
                  <c:v>0.3480211740150778</c:v>
                </c:pt>
                <c:pt idx="2">
                  <c:v>0.054439276656194656</c:v>
                </c:pt>
                <c:pt idx="3">
                  <c:v>0.032693882080756444</c:v>
                </c:pt>
                <c:pt idx="4">
                  <c:v>0.021356477565972556</c:v>
                </c:pt>
                <c:pt idx="5">
                  <c:v>0.0720050129815354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6363737229116463</c:v>
                </c:pt>
                <c:pt idx="1">
                  <c:v>0.26089373181842807</c:v>
                </c:pt>
                <c:pt idx="2">
                  <c:v>0.20438609500688243</c:v>
                </c:pt>
                <c:pt idx="3">
                  <c:v>0.16099746565854658</c:v>
                </c:pt>
                <c:pt idx="4">
                  <c:v>0.0861979008727796</c:v>
                </c:pt>
                <c:pt idx="5">
                  <c:v>0.01920500943558822</c:v>
                </c:pt>
                <c:pt idx="6">
                  <c:v>0.00468242491661046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3164.8</a:t>
                    </a:r>
                  </a:p>
                </c:rich>
              </c:tx>
              <c:showLegendKey val="0"/>
              <c:showVal val="1"/>
              <c:showCatName val="0"/>
              <c:showSerName val="0"/>
              <c:showPercent val="0"/>
              <c:showBubbleSize val="0"/>
            </c:dLbl>
            <c:dLbl>
              <c:idx val="1"/>
              <c:tx>
                <c:rich>
                  <a:bodyPr/>
                  <a:lstStyle/>
                  <a:p>
                    <a:r>
                      <a:rPr>
                        <a:solidFill>
                          <a:srgbClr val="FFFFFF"/>
                        </a:solidFill>
                      </a:rPr>
                      <a:t>3197.7</a:t>
                    </a:r>
                  </a:p>
                </c:rich>
              </c:tx>
              <c:showLegendKey val="0"/>
              <c:showVal val="1"/>
              <c:showCatName val="0"/>
              <c:showSerName val="0"/>
              <c:showPercent val="0"/>
              <c:showBubbleSize val="0"/>
            </c:dLbl>
            <c:dLbl>
              <c:idx val="2"/>
              <c:tx>
                <c:rich>
                  <a:bodyPr/>
                  <a:lstStyle/>
                  <a:p>
                    <a:r>
                      <a:rPr>
                        <a:solidFill>
                          <a:srgbClr val="FFFFFF"/>
                        </a:solidFill>
                      </a:rPr>
                      <a:t>1119.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164.775176</c:v>
                </c:pt>
                <c:pt idx="1">
                  <c:v>3197.730199</c:v>
                </c:pt>
                <c:pt idx="2">
                  <c:v>1119.6715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a:solidFill>
                          <a:srgbClr val="FFFFFF"/>
                        </a:solidFill>
                      </a:rPr>
                      <a:t>4780.9</a:t>
                    </a:r>
                  </a:p>
                </c:rich>
              </c:tx>
              <c:showLegendKey val="0"/>
              <c:showVal val="1"/>
              <c:showCatName val="0"/>
              <c:showSerName val="0"/>
              <c:showPercent val="0"/>
              <c:showBubbleSize val="0"/>
            </c:dLbl>
            <c:dLbl>
              <c:idx val="1"/>
              <c:tx>
                <c:rich>
                  <a:bodyPr/>
                  <a:lstStyle/>
                  <a:p>
                    <a:r>
                      <a:rPr>
                        <a:solidFill>
                          <a:srgbClr val="FFFFFF"/>
                        </a:solidFill>
                      </a:rPr>
                      <a:t>5018.6</a:t>
                    </a:r>
                  </a:p>
                </c:rich>
              </c:tx>
              <c:showLegendKey val="0"/>
              <c:showVal val="1"/>
              <c:showCatName val="0"/>
              <c:showSerName val="0"/>
              <c:showPercent val="0"/>
              <c:showBubbleSize val="0"/>
            </c:dLbl>
            <c:dLbl>
              <c:idx val="2"/>
              <c:tx>
                <c:rich>
                  <a:bodyPr/>
                  <a:lstStyle/>
                  <a:p>
                    <a:r>
                      <a:rPr>
                        <a:solidFill>
                          <a:srgbClr val="FFFFFF"/>
                        </a:solidFill>
                      </a:rPr>
                      <a:t>133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4780.905686</c:v>
                </c:pt>
                <c:pt idx="1">
                  <c:v>5018.627947</c:v>
                </c:pt>
                <c:pt idx="2">
                  <c:v>1330.978948</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tx>
                <c:rich>
                  <a:bodyPr/>
                  <a:lstStyle/>
                  <a:p>
                    <a:r>
                      <a:rPr>
                        <a:solidFill>
                          <a:srgbClr val="FFFFFF"/>
                        </a:solidFill>
                      </a:rPr>
                      <a:t>609.1</a:t>
                    </a:r>
                  </a:p>
                </c:rich>
              </c:tx>
              <c:showLegendKey val="0"/>
              <c:showVal val="1"/>
              <c:showCatName val="0"/>
              <c:showSerName val="0"/>
              <c:showPercent val="0"/>
              <c:showBubbleSize val="0"/>
            </c:dLbl>
            <c:dLbl>
              <c:idx val="1"/>
              <c:tx>
                <c:rich>
                  <a:bodyPr/>
                  <a:lstStyle/>
                  <a:p>
                    <a:r>
                      <a:rPr>
                        <a:solidFill>
                          <a:srgbClr val="FFFFFF"/>
                        </a:solidFill>
                      </a:rPr>
                      <a:t>619.5</a:t>
                    </a:r>
                  </a:p>
                </c:rich>
              </c:tx>
              <c:showLegendKey val="0"/>
              <c:showVal val="1"/>
              <c:showCatName val="0"/>
              <c:showSerName val="0"/>
              <c:showPercent val="0"/>
              <c:showBubbleSize val="0"/>
            </c:dLbl>
            <c:dLbl>
              <c:idx val="2"/>
              <c:tx>
                <c:rich>
                  <a:bodyPr/>
                  <a:lstStyle/>
                  <a:p>
                    <a:r>
                      <a:rPr>
                        <a:solidFill>
                          <a:srgbClr val="FFFFFF"/>
                        </a:solidFill>
                      </a:rPr>
                      <a:t>18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609.107963</c:v>
                </c:pt>
                <c:pt idx="1">
                  <c:v>619.492746</c:v>
                </c:pt>
                <c:pt idx="2">
                  <c:v>181.87589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Entremont</c:v>
                </c:pt>
              </c:strCache>
            </c:strRef>
          </c:tx>
          <c:spPr>
            <a:solidFill>
              <a:srgbClr val="7F7F7F"/>
            </a:solidFill>
            <a:ln>
              <a:solidFill>
                <a:schemeClr val="bg1"/>
              </a:solidFill>
            </a:ln>
            <a:effectLst/>
          </c:spPr>
          <c:invertIfNegative val="0"/>
          <c:dLbls>
            <c:dLbl>
              <c:idx val="0"/>
              <c:tx>
                <c:rich>
                  <a:bodyPr/>
                  <a:lstStyle/>
                  <a:p>
                    <a:r>
                      <a:rPr>
                        <a:solidFill>
                          <a:srgbClr val="FFFFFF"/>
                        </a:solidFill>
                      </a:rPr>
                      <a:t>325.0</a:t>
                    </a:r>
                  </a:p>
                </c:rich>
              </c:tx>
              <c:showLegendKey val="0"/>
              <c:showVal val="1"/>
              <c:showCatName val="0"/>
              <c:showSerName val="0"/>
              <c:showPercent val="0"/>
              <c:showBubbleSize val="0"/>
            </c:dLbl>
            <c:dLbl>
              <c:idx val="1"/>
              <c:tx>
                <c:rich>
                  <a:bodyPr/>
                  <a:lstStyle/>
                  <a:p>
                    <a:r>
                      <a:rPr>
                        <a:solidFill>
                          <a:srgbClr val="FFFFFF"/>
                        </a:solidFill>
                      </a:rPr>
                      <a:t>333.9</a:t>
                    </a:r>
                  </a:p>
                </c:rich>
              </c:tx>
              <c:showLegendKey val="0"/>
              <c:showVal val="1"/>
              <c:showCatName val="0"/>
              <c:showSerName val="0"/>
              <c:showPercent val="0"/>
              <c:showBubbleSize val="0"/>
            </c:dLbl>
            <c:dLbl>
              <c:idx val="2"/>
              <c:tx>
                <c:rich>
                  <a:bodyPr/>
                  <a:lstStyle/>
                  <a:p>
                    <a:r>
                      <a:rPr>
                        <a:solidFill>
                          <a:srgbClr val="FFFFFF"/>
                        </a:solidFill>
                      </a:rPr>
                      <a:t>4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24.977883</c:v>
                </c:pt>
                <c:pt idx="1">
                  <c:v>333.892813</c:v>
                </c:pt>
                <c:pt idx="2">
                  <c:v>43.157739</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Soignon</c:v>
                </c:pt>
              </c:strCache>
            </c:strRef>
          </c:tx>
          <c:spPr>
            <a:solidFill>
              <a:srgbClr val="575555"/>
            </a:solidFill>
            <a:ln>
              <a:solidFill>
                <a:schemeClr val="bg1"/>
              </a:solidFill>
            </a:ln>
            <a:effectLst/>
          </c:spPr>
          <c:invertIfNegative val="0"/>
          <c:dLbls>
            <c:dLbl>
              <c:idx val="0"/>
              <c:tx>
                <c:rich>
                  <a:bodyPr/>
                  <a:lstStyle/>
                  <a:p>
                    <a:r>
                      <a:rPr>
                        <a:solidFill>
                          <a:srgbClr val="FFFFFF"/>
                        </a:solidFill>
                      </a:rPr>
                      <a:t>241.1</a:t>
                    </a:r>
                  </a:p>
                </c:rich>
              </c:tx>
              <c:showLegendKey val="0"/>
              <c:showVal val="1"/>
              <c:showCatName val="0"/>
              <c:showSerName val="0"/>
              <c:showPercent val="0"/>
              <c:showBubbleSize val="0"/>
            </c:dLbl>
            <c:dLbl>
              <c:idx val="1"/>
              <c:tx>
                <c:rich>
                  <a:bodyPr/>
                  <a:lstStyle/>
                  <a:p>
                    <a:r>
                      <a:rPr>
                        <a:solidFill>
                          <a:srgbClr val="FFFFFF"/>
                        </a:solidFill>
                      </a:rPr>
                      <a:t>230.4</a:t>
                    </a:r>
                  </a:p>
                </c:rich>
              </c:tx>
              <c:showLegendKey val="0"/>
              <c:showVal val="1"/>
              <c:showCatName val="0"/>
              <c:showSerName val="0"/>
              <c:showPercent val="0"/>
              <c:showBubbleSize val="0"/>
            </c:dLbl>
            <c:dLbl>
              <c:idx val="2"/>
              <c:tx>
                <c:rich>
                  <a:bodyPr/>
                  <a:lstStyle/>
                  <a:p>
                    <a:r>
                      <a:rPr>
                        <a:solidFill>
                          <a:srgbClr val="FFFFFF"/>
                        </a:solidFill>
                      </a:rPr>
                      <a:t>116.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41.105261</c:v>
                </c:pt>
                <c:pt idx="1">
                  <c:v>230.365513</c:v>
                </c:pt>
                <c:pt idx="2">
                  <c:v>116.855407</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St Moret</c:v>
                </c:pt>
              </c:strCache>
            </c:strRef>
          </c:tx>
          <c:spPr>
            <a:solidFill>
              <a:srgbClr val="575555"/>
            </a:solidFill>
            <a:ln>
              <a:solidFill>
                <a:schemeClr val="bg1"/>
              </a:solidFill>
            </a:ln>
            <a:effectLst/>
          </c:spPr>
          <c:invertIfNegative val="0"/>
          <c:dLbls>
            <c:dLbl>
              <c:idx val="0"/>
              <c:tx>
                <c:rich>
                  <a:bodyPr/>
                  <a:lstStyle/>
                  <a:p>
                    <a:r>
                      <a:rPr>
                        <a:solidFill>
                          <a:srgbClr val="FFFFFF"/>
                        </a:solidFill>
                      </a:rPr>
                      <a:t>171.7</a:t>
                    </a:r>
                  </a:p>
                </c:rich>
              </c:tx>
              <c:showLegendKey val="0"/>
              <c:showVal val="1"/>
              <c:showCatName val="0"/>
              <c:showSerName val="0"/>
              <c:showPercent val="0"/>
              <c:showBubbleSize val="0"/>
            </c:dLbl>
            <c:dLbl>
              <c:idx val="1"/>
              <c:tx>
                <c:rich>
                  <a:bodyPr/>
                  <a:lstStyle/>
                  <a:p>
                    <a:r>
                      <a:rPr>
                        <a:solidFill>
                          <a:srgbClr val="FFFFFF"/>
                        </a:solidFill>
                      </a:rPr>
                      <a:t>181.8</a:t>
                    </a:r>
                  </a:p>
                </c:rich>
              </c:tx>
              <c:showLegendKey val="0"/>
              <c:showVal val="1"/>
              <c:showCatName val="0"/>
              <c:showSerName val="0"/>
              <c:showPercent val="0"/>
              <c:showBubbleSize val="0"/>
            </c:dLbl>
            <c:dLbl>
              <c:idx val="2"/>
              <c:tx>
                <c:rich>
                  <a:bodyPr/>
                  <a:lstStyle/>
                  <a:p>
                    <a:r>
                      <a:rPr>
                        <a:solidFill>
                          <a:srgbClr val="FFFFFF"/>
                        </a:solidFill>
                      </a:rPr>
                      <a:t>12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71.72949</c:v>
                </c:pt>
                <c:pt idx="1">
                  <c:v>181.750641</c:v>
                </c:pt>
                <c:pt idx="2">
                  <c:v>120.191495</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aprice Des Dieux</c:v>
                </c:pt>
              </c:strCache>
            </c:strRef>
          </c:tx>
          <c:spPr>
            <a:solidFill>
              <a:srgbClr val="575555"/>
            </a:solidFill>
            <a:ln>
              <a:solidFill>
                <a:schemeClr val="bg1"/>
              </a:solidFill>
            </a:ln>
            <a:effectLst/>
          </c:spPr>
          <c:invertIfNegative val="0"/>
          <c:dLbls>
            <c:dLbl>
              <c:idx val="0"/>
              <c:tx>
                <c:rich>
                  <a:bodyPr/>
                  <a:lstStyle/>
                  <a:p>
                    <a:r>
                      <a:rPr>
                        <a:solidFill>
                          <a:srgbClr val="FFFFFF"/>
                        </a:solidFill>
                      </a:rPr>
                      <a:t>180.2</a:t>
                    </a:r>
                  </a:p>
                </c:rich>
              </c:tx>
              <c:showLegendKey val="0"/>
              <c:showVal val="1"/>
              <c:showCatName val="0"/>
              <c:showSerName val="0"/>
              <c:showPercent val="0"/>
              <c:showBubbleSize val="0"/>
            </c:dLbl>
            <c:dLbl>
              <c:idx val="1"/>
              <c:tx>
                <c:rich>
                  <a:bodyPr/>
                  <a:lstStyle/>
                  <a:p>
                    <a:r>
                      <a:rPr>
                        <a:solidFill>
                          <a:srgbClr val="FFFFFF"/>
                        </a:solidFill>
                      </a:rPr>
                      <a:t>183.8</a:t>
                    </a:r>
                  </a:p>
                </c:rich>
              </c:tx>
              <c:showLegendKey val="0"/>
              <c:showVal val="1"/>
              <c:showCatName val="0"/>
              <c:showSerName val="0"/>
              <c:showPercent val="0"/>
              <c:showBubbleSize val="0"/>
            </c:dLbl>
            <c:dLbl>
              <c:idx val="2"/>
              <c:tx>
                <c:rich>
                  <a:bodyPr/>
                  <a:lstStyle/>
                  <a:p>
                    <a:r>
                      <a:rPr>
                        <a:solidFill>
                          <a:srgbClr val="FFFFFF"/>
                        </a:solidFill>
                      </a:rPr>
                      <a:t>108.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80.204726</c:v>
                </c:pt>
                <c:pt idx="1">
                  <c:v>183.821452</c:v>
                </c:pt>
                <c:pt idx="2">
                  <c:v>108.574698</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Galbani</c:v>
                </c:pt>
              </c:strCache>
            </c:strRef>
          </c:tx>
          <c:spPr>
            <a:solidFill>
              <a:srgbClr val="575555"/>
            </a:solidFill>
            <a:ln>
              <a:solidFill>
                <a:schemeClr val="bg1"/>
              </a:solidFill>
            </a:ln>
            <a:effectLst/>
          </c:spPr>
          <c:invertIfNegative val="0"/>
          <c:dLbls>
            <c:dLbl>
              <c:idx val="0"/>
              <c:tx>
                <c:rich>
                  <a:bodyPr/>
                  <a:lstStyle/>
                  <a:p>
                    <a:r>
                      <a:rPr>
                        <a:solidFill>
                          <a:srgbClr val="FFFFFF"/>
                        </a:solidFill>
                      </a:rPr>
                      <a:t>170.0</a:t>
                    </a:r>
                  </a:p>
                </c:rich>
              </c:tx>
              <c:showLegendKey val="0"/>
              <c:showVal val="1"/>
              <c:showCatName val="0"/>
              <c:showSerName val="0"/>
              <c:showPercent val="0"/>
              <c:showBubbleSize val="0"/>
            </c:dLbl>
            <c:dLbl>
              <c:idx val="1"/>
              <c:tx>
                <c:rich>
                  <a:bodyPr/>
                  <a:lstStyle/>
                  <a:p>
                    <a:r>
                      <a:rPr>
                        <a:solidFill>
                          <a:srgbClr val="FFFFFF"/>
                        </a:solidFill>
                      </a:rPr>
                      <a:t>170.5</a:t>
                    </a:r>
                  </a:p>
                </c:rich>
              </c:tx>
              <c:showLegendKey val="0"/>
              <c:showVal val="1"/>
              <c:showCatName val="0"/>
              <c:showSerName val="0"/>
              <c:showPercent val="0"/>
              <c:showBubbleSize val="0"/>
            </c:dLbl>
            <c:dLbl>
              <c:idx val="2"/>
              <c:tx>
                <c:rich>
                  <a:bodyPr/>
                  <a:lstStyle/>
                  <a:p>
                    <a:r>
                      <a:rPr>
                        <a:solidFill>
                          <a:srgbClr val="FFFFFF"/>
                        </a:solidFill>
                      </a:rPr>
                      <a:t>9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69.973559</c:v>
                </c:pt>
                <c:pt idx="1">
                  <c:v>170.510551</c:v>
                </c:pt>
                <c:pt idx="2">
                  <c:v>90.810904</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oeur De Lion</c:v>
                </c:pt>
              </c:strCache>
            </c:strRef>
          </c:tx>
          <c:spPr>
            <a:solidFill>
              <a:srgbClr val="575555"/>
            </a:solidFill>
            <a:ln>
              <a:solidFill>
                <a:schemeClr val="bg1"/>
              </a:solidFill>
            </a:ln>
            <a:effectLst/>
          </c:spPr>
          <c:invertIfNegative val="0"/>
          <c:dLbls>
            <c:dLbl>
              <c:idx val="0"/>
              <c:tx>
                <c:rich>
                  <a:bodyPr/>
                  <a:lstStyle/>
                  <a:p>
                    <a:r>
                      <a:rPr>
                        <a:solidFill>
                          <a:srgbClr val="FFFFFF"/>
                        </a:solidFill>
                      </a:rPr>
                      <a:t>154.9</a:t>
                    </a:r>
                  </a:p>
                </c:rich>
              </c:tx>
              <c:showLegendKey val="0"/>
              <c:showVal val="1"/>
              <c:showCatName val="0"/>
              <c:showSerName val="0"/>
              <c:showPercent val="0"/>
              <c:showBubbleSize val="0"/>
            </c:dLbl>
            <c:dLbl>
              <c:idx val="1"/>
              <c:tx>
                <c:rich>
                  <a:bodyPr/>
                  <a:lstStyle/>
                  <a:p>
                    <a:r>
                      <a:rPr>
                        <a:solidFill>
                          <a:srgbClr val="FFFFFF"/>
                        </a:solidFill>
                      </a:rPr>
                      <a:t>153.5</a:t>
                    </a:r>
                  </a:p>
                </c:rich>
              </c:tx>
              <c:showLegendKey val="0"/>
              <c:showVal val="1"/>
              <c:showCatName val="0"/>
              <c:showSerName val="0"/>
              <c:showPercent val="0"/>
              <c:showBubbleSize val="0"/>
            </c:dLbl>
            <c:dLbl>
              <c:idx val="2"/>
              <c:tx>
                <c:rich>
                  <a:bodyPr/>
                  <a:lstStyle/>
                  <a:p>
                    <a:r>
                      <a:rPr>
                        <a:solidFill>
                          <a:srgbClr val="FFFFFF"/>
                        </a:solidFill>
                      </a:rPr>
                      <a:t>8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54.935335</c:v>
                </c:pt>
                <c:pt idx="1">
                  <c:v>153.471847</c:v>
                </c:pt>
                <c:pt idx="2">
                  <c:v>82.75297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La Vache Qui Rit</c:v>
                </c:pt>
              </c:strCache>
            </c:strRef>
          </c:tx>
          <c:spPr>
            <a:solidFill>
              <a:srgbClr val="B2DFDC"/>
            </a:solidFill>
            <a:ln>
              <a:solidFill>
                <a:schemeClr val="bg1"/>
              </a:solidFill>
            </a:ln>
            <a:effectLst/>
          </c:spPr>
          <c:invertIfNegative val="0"/>
          <c:dLbls>
            <c:dLbl>
              <c:idx val="0"/>
              <c:tx>
                <c:rich>
                  <a:bodyPr/>
                  <a:lstStyle/>
                  <a:p>
                    <a:r>
                      <a:rPr>
                        <a:solidFill>
                          <a:srgbClr val="FFFFFF"/>
                        </a:solidFill>
                      </a:rPr>
                      <a:t>138.3</a:t>
                    </a:r>
                  </a:p>
                </c:rich>
              </c:tx>
              <c:showLegendKey val="0"/>
              <c:showVal val="1"/>
              <c:showCatName val="0"/>
              <c:showSerName val="0"/>
              <c:showPercent val="0"/>
              <c:showBubbleSize val="0"/>
            </c:dLbl>
            <c:dLbl>
              <c:idx val="1"/>
              <c:tx>
                <c:rich>
                  <a:bodyPr/>
                  <a:lstStyle/>
                  <a:p>
                    <a:r>
                      <a:rPr>
                        <a:solidFill>
                          <a:srgbClr val="FFFFFF"/>
                        </a:solidFill>
                      </a:rPr>
                      <a:t>151.7</a:t>
                    </a:r>
                  </a:p>
                </c:rich>
              </c:tx>
              <c:showLegendKey val="0"/>
              <c:showVal val="1"/>
              <c:showCatName val="0"/>
              <c:showSerName val="0"/>
              <c:showPercent val="0"/>
              <c:showBubbleSize val="0"/>
            </c:dLbl>
            <c:dLbl>
              <c:idx val="2"/>
              <c:tx>
                <c:rich>
                  <a:bodyPr/>
                  <a:lstStyle/>
                  <a:p>
                    <a:r>
                      <a:rPr>
                        <a:solidFill>
                          <a:srgbClr val="FFFFFF"/>
                        </a:solidFill>
                      </a:rPr>
                      <a:t>86.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38.309423</c:v>
                </c:pt>
                <c:pt idx="1">
                  <c:v>151.653285</c:v>
                </c:pt>
                <c:pt idx="2">
                  <c:v>86.18043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17.6</a:t>
                    </a:r>
                  </a:p>
                </c:rich>
              </c:tx>
              <c:showLegendKey val="0"/>
              <c:showVal val="1"/>
              <c:showCatName val="0"/>
              <c:showSerName val="0"/>
              <c:showPercent val="0"/>
              <c:showBubbleSize val="0"/>
            </c:dLbl>
            <c:dLbl>
              <c:idx val="1"/>
              <c:tx>
                <c:rich>
                  <a:bodyPr/>
                  <a:lstStyle/>
                  <a:p>
                    <a:r>
                      <a:rPr>
                        <a:solidFill>
                          <a:srgbClr val="FFFFFF"/>
                        </a:solidFill>
                      </a:rPr>
                      <a:t>122.9</a:t>
                    </a:r>
                  </a:p>
                </c:rich>
              </c:tx>
              <c:showLegendKey val="0"/>
              <c:showVal val="1"/>
              <c:showCatName val="0"/>
              <c:showSerName val="0"/>
              <c:showPercent val="0"/>
              <c:showBubbleSize val="0"/>
            </c:dLbl>
            <c:dLbl>
              <c:idx val="2"/>
              <c:tx>
                <c:rich>
                  <a:bodyPr/>
                  <a:lstStyle/>
                  <a:p>
                    <a:r>
                      <a:rPr>
                        <a:solidFill>
                          <a:srgbClr val="FFFFFF"/>
                        </a:solidFill>
                      </a:rPr>
                      <a:t>1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17.56697</c:v>
                </c:pt>
                <c:pt idx="1">
                  <c:v>122.920401</c:v>
                </c:pt>
                <c:pt idx="2">
                  <c:v>13.17427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a:solidFill>
                          <a:srgbClr val="FFFFFF"/>
                        </a:solidFill>
                      </a:rPr>
                      <a:t>154.9</a:t>
                    </a:r>
                  </a:p>
                </c:rich>
              </c:tx>
              <c:showLegendKey val="0"/>
              <c:showVal val="1"/>
              <c:showCatName val="0"/>
              <c:showSerName val="0"/>
              <c:showPercent val="0"/>
              <c:showBubbleSize val="0"/>
            </c:dLbl>
            <c:dLbl>
              <c:idx val="1"/>
              <c:tx>
                <c:rich>
                  <a:bodyPr/>
                  <a:lstStyle/>
                  <a:p>
                    <a:r>
                      <a:rPr>
                        <a:solidFill>
                          <a:srgbClr val="FFFFFF"/>
                        </a:solidFill>
                      </a:rPr>
                      <a:t>158.5</a:t>
                    </a:r>
                  </a:p>
                </c:rich>
              </c:tx>
              <c:showLegendKey val="0"/>
              <c:showVal val="1"/>
              <c:showCatName val="0"/>
              <c:showSerName val="0"/>
              <c:showPercent val="0"/>
              <c:showBubbleSize val="0"/>
            </c:dLbl>
            <c:dLbl>
              <c:idx val="2"/>
              <c:tx>
                <c:rich>
                  <a:bodyPr/>
                  <a:lstStyle/>
                  <a:p>
                    <a:r>
                      <a:rPr>
                        <a:solidFill>
                          <a:srgbClr val="FFFFFF"/>
                        </a:solidFill>
                      </a:rPr>
                      <a:t>1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54.869201</c:v>
                </c:pt>
                <c:pt idx="1">
                  <c:v>158.541342</c:v>
                </c:pt>
                <c:pt idx="2">
                  <c:v>11.34080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29611634591998715</c:v>
                </c:pt>
                <c:pt idx="1">
                  <c:v>0.19234377259598257</c:v>
                </c:pt>
                <c:pt idx="2">
                  <c:v>0.15136553389364915</c:v>
                </c:pt>
                <c:pt idx="3">
                  <c:v>0.10651841953118901</c:v>
                </c:pt>
                <c:pt idx="4">
                  <c:v>0.09325584622743983</c:v>
                </c:pt>
                <c:pt idx="5">
                  <c:v>0.06629975201573401</c:v>
                </c:pt>
                <c:pt idx="6">
                  <c:v>0.044267364068319326</c:v>
                </c:pt>
                <c:pt idx="7">
                  <c:v>0.01584634782776968</c:v>
                </c:pt>
                <c:pt idx="8">
                  <c:v>0.03398661791992927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NATIONAL</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651194629824163</c:v>
                </c:pt>
                <c:pt idx="1">
                  <c:v>0.12967410454850634</c:v>
                </c:pt>
                <c:pt idx="2">
                  <c:v>0.08891345551936203</c:v>
                </c:pt>
                <c:pt idx="3">
                  <c:v>0.07018882622971151</c:v>
                </c:pt>
                <c:pt idx="4">
                  <c:v>0.02166167400993348</c:v>
                </c:pt>
                <c:pt idx="5">
                  <c:v>0.0104760517529091</c:v>
                </c:pt>
                <c:pt idx="6">
                  <c:v>0.1139664249571611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78751536034013</c:v>
                </c:pt>
                <c:pt idx="1">
                  <c:v>0.2757886139319489</c:v>
                </c:pt>
                <c:pt idx="2">
                  <c:v>0.22845662287914417</c:v>
                </c:pt>
                <c:pt idx="3">
                  <c:v>0.10358334814043174</c:v>
                </c:pt>
                <c:pt idx="4">
                  <c:v>0.09572537917922513</c:v>
                </c:pt>
                <c:pt idx="5">
                  <c:v>0.017640743555211277</c:v>
                </c:pt>
                <c:pt idx="6">
                  <c:v>5.3756280025725276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70859348380675</c:v>
                </c:pt>
                <c:pt idx="1">
                  <c:v>0.16043379926377807</c:v>
                </c:pt>
                <c:pt idx="2">
                  <c:v>0.12966800019878572</c:v>
                </c:pt>
                <c:pt idx="3">
                  <c:v>0.10616482532513906</c:v>
                </c:pt>
                <c:pt idx="4">
                  <c:v>0.10235644019547083</c:v>
                </c:pt>
                <c:pt idx="5">
                  <c:v>0.07424221878310637</c:v>
                </c:pt>
                <c:pt idx="6">
                  <c:v>0.07082597692426837</c:v>
                </c:pt>
                <c:pt idx="7">
                  <c:v>0.014652422694235665</c:v>
                </c:pt>
                <c:pt idx="8">
                  <c:v>0.010346095515999654</c:v>
                </c:pt>
                <c:pt idx="9">
                  <c:v>0.0342242862611487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237334716855074</c:v>
                </c:pt>
                <c:pt idx="1">
                  <c:v>0.1085288811207007</c:v>
                </c:pt>
                <c:pt idx="2">
                  <c:v>0.09396399990213104</c:v>
                </c:pt>
                <c:pt idx="3">
                  <c:v>0.07490979364952201</c:v>
                </c:pt>
                <c:pt idx="4">
                  <c:v>0.024235701196868683</c:v>
                </c:pt>
                <c:pt idx="5">
                  <c:v>0.016144620862610648</c:v>
                </c:pt>
                <c:pt idx="6">
                  <c:v>0.1584835315826594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897948502065428</c:v>
                </c:pt>
                <c:pt idx="1">
                  <c:v>0.241380359332221</c:v>
                </c:pt>
                <c:pt idx="2">
                  <c:v>0.234193561272996</c:v>
                </c:pt>
                <c:pt idx="3">
                  <c:v>0.1258307547492551</c:v>
                </c:pt>
                <c:pt idx="4">
                  <c:v>0.0863831811789481</c:v>
                </c:pt>
                <c:pt idx="5">
                  <c:v>0.02241606414349526</c:v>
                </c:pt>
                <c:pt idx="6">
                  <c:v>1.229116541757698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3495661866567283</c:v>
                </c:pt>
                <c:pt idx="1">
                  <c:v>0.14290204190012662</c:v>
                </c:pt>
                <c:pt idx="2">
                  <c:v>0.1426367440068825</c:v>
                </c:pt>
                <c:pt idx="3">
                  <c:v>0.1347789063774303</c:v>
                </c:pt>
                <c:pt idx="4">
                  <c:v>0.1150146018748184</c:v>
                </c:pt>
                <c:pt idx="5">
                  <c:v>0.07201400188506042</c:v>
                </c:pt>
                <c:pt idx="6">
                  <c:v>0.03541112975172889</c:v>
                </c:pt>
                <c:pt idx="7">
                  <c:v>0.02228595553828002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141424807476968</c:v>
                </c:pt>
                <c:pt idx="1">
                  <c:v>0.20662404498031436</c:v>
                </c:pt>
                <c:pt idx="2">
                  <c:v>0.09381987803679426</c:v>
                </c:pt>
                <c:pt idx="3">
                  <c:v>0.06873221084974702</c:v>
                </c:pt>
                <c:pt idx="4">
                  <c:v>0.027078447437878853</c:v>
                </c:pt>
                <c:pt idx="5">
                  <c:v>0.013750855203300237</c:v>
                </c:pt>
                <c:pt idx="6">
                  <c:v>0.0758520827442684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9</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757894</c:v>
                </c:pt>
                <c:pt idx="1">
                  <c:v>4.906471</c:v>
                </c:pt>
                <c:pt idx="2">
                  <c:v>0.07411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39.3</a:t>
                    </a:r>
                  </a:p>
                </c:rich>
              </c:tx>
              <c:showLegendKey val="0"/>
              <c:showVal val="1"/>
              <c:showCatName val="0"/>
              <c:showSerName val="0"/>
              <c:showPercent val="0"/>
              <c:showBubbleSize val="0"/>
            </c:dLbl>
            <c:dLbl>
              <c:idx val="1"/>
              <c:tx>
                <c:rich>
                  <a:bodyPr/>
                  <a:lstStyle/>
                  <a:p>
                    <a:r>
                      <a:rPr>
                        <a:solidFill>
                          <a:srgbClr val="FFFFFF"/>
                        </a:solidFill>
                      </a:rPr>
                      <a:t>39.8</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9.319524</c:v>
                </c:pt>
                <c:pt idx="1">
                  <c:v>39.818945</c:v>
                </c:pt>
                <c:pt idx="2">
                  <c:v>0.584757</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99408</c:v>
                </c:pt>
                <c:pt idx="1">
                  <c:v>2.022046</c:v>
                </c:pt>
                <c:pt idx="2">
                  <c:v>1.28305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5</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315478</c:v>
                </c:pt>
                <c:pt idx="1">
                  <c:v>2.470934</c:v>
                </c:pt>
                <c:pt idx="2">
                  <c:v>1.428028</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6.1</a:t>
                    </a:r>
                  </a:p>
                </c:rich>
              </c:tx>
              <c:showLegendKey val="0"/>
              <c:showVal val="1"/>
              <c:showCatName val="0"/>
              <c:showSerName val="0"/>
              <c:showPercent val="0"/>
              <c:showBubbleSize val="0"/>
            </c:dLbl>
            <c:dLbl>
              <c:idx val="1"/>
              <c:tx>
                <c:rich>
                  <a:bodyPr/>
                  <a:lstStyle/>
                  <a:p>
                    <a:r>
                      <a:rPr>
                        <a:solidFill>
                          <a:srgbClr val="FFFFFF"/>
                        </a:solidFill>
                      </a:rPr>
                      <a:t>18.4</a:t>
                    </a:r>
                  </a:p>
                </c:rich>
              </c:tx>
              <c:showLegendKey val="0"/>
              <c:showVal val="1"/>
              <c:showCatName val="0"/>
              <c:showSerName val="0"/>
              <c:showPercent val="0"/>
              <c:showBubbleSize val="0"/>
            </c:dLbl>
            <c:dLbl>
              <c:idx val="2"/>
              <c:tx>
                <c:rich>
                  <a:bodyPr/>
                  <a:lstStyle/>
                  <a:p>
                    <a:r>
                      <a:rPr>
                        <a:solidFill>
                          <a:srgbClr val="FFFFFF"/>
                        </a:solidFill>
                      </a:rPr>
                      <a:t>1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128625</c:v>
                </c:pt>
                <c:pt idx="1">
                  <c:v>18.390358</c:v>
                </c:pt>
                <c:pt idx="2">
                  <c:v>11.6422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a:solidFill>
                          <a:srgbClr val="FFFFFF"/>
                        </a:solidFill>
                      </a:rPr>
                      <a:t>14.7</a:t>
                    </a:r>
                  </a:p>
                </c:rich>
              </c:tx>
              <c:showLegendKey val="0"/>
              <c:showVal val="1"/>
              <c:showCatName val="0"/>
              <c:showSerName val="0"/>
              <c:showPercent val="0"/>
              <c:showBubbleSize val="0"/>
            </c:dLbl>
            <c:dLbl>
              <c:idx val="1"/>
              <c:tx>
                <c:rich>
                  <a:bodyPr/>
                  <a:lstStyle/>
                  <a:p>
                    <a:r>
                      <a:rPr>
                        <a:solidFill>
                          <a:srgbClr val="FFFFFF"/>
                        </a:solidFill>
                      </a:rPr>
                      <a:t>15.8</a:t>
                    </a:r>
                  </a:p>
                </c:rich>
              </c:tx>
              <c:showLegendKey val="0"/>
              <c:showVal val="1"/>
              <c:showCatName val="0"/>
              <c:showSerName val="0"/>
              <c:showPercent val="0"/>
              <c:showBubbleSize val="0"/>
            </c:dLbl>
            <c:dLbl>
              <c:idx val="2"/>
              <c:tx>
                <c:rich>
                  <a:bodyPr/>
                  <a:lstStyle/>
                  <a:p>
                    <a:r>
                      <a:rPr>
                        <a:solidFill>
                          <a:srgbClr val="FFFFFF"/>
                        </a:solidFill>
                      </a:rPr>
                      <a:t>9.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4.71271</c:v>
                </c:pt>
                <c:pt idx="1">
                  <c:v>15.809905</c:v>
                </c:pt>
                <c:pt idx="2">
                  <c:v>9.36601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1.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017688</c:v>
                </c:pt>
                <c:pt idx="1">
                  <c:v>2.897775</c:v>
                </c:pt>
                <c:pt idx="2">
                  <c:v>1.7348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Mini Babybe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7</a:t>
                    </a:r>
                  </a:p>
                </c:rich>
              </c:tx>
              <c:showLegendKey val="0"/>
              <c:showVal val="1"/>
              <c:showCatName val="0"/>
              <c:showSerName val="0"/>
              <c:showPercent val="0"/>
              <c:showBubbleSize val="0"/>
            </c:dLbl>
            <c:dLbl>
              <c:idx val="2"/>
              <c:tx>
                <c:rich>
                  <a:bodyPr/>
                  <a:lstStyle/>
                  <a:p>
                    <a:r>
                      <a:rPr>
                        <a:solidFill>
                          <a:srgbClr val="FFFFFF"/>
                        </a:solidFill>
                      </a:rPr>
                      <a:t>4.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8.690825</c:v>
                </c:pt>
                <c:pt idx="1">
                  <c:v>8.735471</c:v>
                </c:pt>
                <c:pt idx="2">
                  <c:v>4.5112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La Vache Qui Rit</c:v>
                </c:pt>
              </c:strCache>
            </c:strRef>
          </c:tx>
          <c:spPr>
            <a:solidFill>
              <a:srgbClr val="00A097"/>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4</a:t>
                    </a:r>
                  </a:p>
                </c:rich>
              </c:tx>
              <c:showLegendKey val="0"/>
              <c:showVal val="1"/>
              <c:showCatName val="0"/>
              <c:showSerName val="0"/>
              <c:showPercent val="0"/>
              <c:showBubbleSize val="0"/>
            </c:dLbl>
            <c:dLbl>
              <c:idx val="2"/>
              <c:tx>
                <c:rich>
                  <a:bodyPr/>
                  <a:lstStyle/>
                  <a:p>
                    <a:r>
                      <a:rPr>
                        <a:solidFill>
                          <a:srgbClr val="FFFFFF"/>
                        </a:solidFill>
                      </a:rPr>
                      <a:t>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1.909874</c:v>
                </c:pt>
                <c:pt idx="1">
                  <c:v>13.394212</c:v>
                </c:pt>
                <c:pt idx="2">
                  <c:v>8.32719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1</a:t>
                    </a:r>
                  </a:p>
                </c:rich>
              </c:tx>
              <c:showLegendKey val="0"/>
              <c:showVal val="1"/>
              <c:showCatName val="0"/>
              <c:showSerName val="0"/>
              <c:showPercent val="0"/>
              <c:showBubbleSize val="0"/>
            </c:dLbl>
            <c:dLbl>
              <c:idx val="2"/>
              <c:tx>
                <c:rich>
                  <a:bodyPr/>
                  <a:lstStyle/>
                  <a:p>
                    <a:r>
                      <a:rPr>
                        <a:solidFill>
                          <a:srgbClr val="FFFFFF"/>
                        </a:solidFill>
                      </a:rPr>
                      <a:t>5.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7.796487</c:v>
                </c:pt>
                <c:pt idx="1">
                  <c:v>8.103557</c:v>
                </c:pt>
                <c:pt idx="2">
                  <c:v>5.13188</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Private Labe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3</a:t>
                    </a:r>
                  </a:p>
                </c:rich>
              </c:tx>
              <c:showLegendKey val="0"/>
              <c:showVal val="1"/>
              <c:showCatName val="0"/>
              <c:showSerName val="0"/>
              <c:showPercent val="0"/>
              <c:showBubbleSize val="0"/>
            </c:dLbl>
            <c:dLbl>
              <c:idx val="2"/>
              <c:tx>
                <c:rich>
                  <a:bodyPr/>
                  <a:lstStyle/>
                  <a:p>
                    <a:r>
                      <a:rPr>
                        <a:solidFill>
                          <a:srgbClr val="FFFFFF"/>
                        </a:solidFill>
                      </a:rPr>
                      <a:t>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2.367591</c:v>
                </c:pt>
                <c:pt idx="1">
                  <c:v>13.341937</c:v>
                </c:pt>
                <c:pt idx="2">
                  <c:v>7.45377</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54.6</a:t>
                    </a:r>
                  </a:p>
                </c:rich>
              </c:tx>
              <c:showLegendKey val="0"/>
              <c:showVal val="1"/>
              <c:showCatName val="0"/>
              <c:showSerName val="0"/>
              <c:showPercent val="0"/>
              <c:showBubbleSize val="0"/>
            </c:dLbl>
            <c:dLbl>
              <c:idx val="1"/>
              <c:tx>
                <c:rich>
                  <a:bodyPr/>
                  <a:lstStyle/>
                  <a:p>
                    <a:r>
                      <a:rPr>
                        <a:solidFill>
                          <a:srgbClr val="FFFFFF"/>
                        </a:solidFill>
                      </a:rPr>
                      <a:t>54.7</a:t>
                    </a:r>
                  </a:p>
                </c:rich>
              </c:tx>
              <c:showLegendKey val="0"/>
              <c:showVal val="1"/>
              <c:showCatName val="0"/>
              <c:showSerName val="0"/>
              <c:showPercent val="0"/>
              <c:showBubbleSize val="0"/>
            </c:dLbl>
            <c:dLbl>
              <c:idx val="2"/>
              <c:tx>
                <c:rich>
                  <a:bodyPr/>
                  <a:lstStyle/>
                  <a:p>
                    <a:r>
                      <a:rPr>
                        <a:solidFill>
                          <a:srgbClr val="FFFFFF"/>
                        </a:solidFill>
                      </a:rPr>
                      <a:t>34.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4.611295</c:v>
                </c:pt>
                <c:pt idx="1">
                  <c:v>54.687406</c:v>
                </c:pt>
                <c:pt idx="2">
                  <c:v>34.56561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Mini Babybel</c:v>
                </c:pt>
              </c:strCache>
            </c:strRef>
          </c:tx>
          <c:spPr>
            <a:solidFill>
              <a:srgbClr val="A6A6A6"/>
            </a:solidFill>
            <a:ln>
              <a:solidFill>
                <a:schemeClr val="bg1"/>
              </a:solidFill>
            </a:ln>
            <a:effectLst/>
          </c:spPr>
          <c:invertIfNegative val="0"/>
          <c:dLbls>
            <c:dLbl>
              <c:idx val="0"/>
              <c:tx>
                <c:rich>
                  <a:bodyPr/>
                  <a:lstStyle/>
                  <a:p>
                    <a:r>
                      <a:rPr>
                        <a:solidFill>
                          <a:srgbClr val="FFFFFF"/>
                        </a:solidFill>
                      </a:rPr>
                      <a:t>137.8</a:t>
                    </a:r>
                  </a:p>
                </c:rich>
              </c:tx>
              <c:showLegendKey val="0"/>
              <c:showVal val="1"/>
              <c:showCatName val="0"/>
              <c:showSerName val="0"/>
              <c:showPercent val="0"/>
              <c:showBubbleSize val="0"/>
            </c:dLbl>
            <c:dLbl>
              <c:idx val="1"/>
              <c:tx>
                <c:rich>
                  <a:bodyPr/>
                  <a:lstStyle/>
                  <a:p>
                    <a:r>
                      <a:rPr>
                        <a:solidFill>
                          <a:srgbClr val="FFFFFF"/>
                        </a:solidFill>
                      </a:rPr>
                      <a:t>139.5</a:t>
                    </a:r>
                  </a:p>
                </c:rich>
              </c:tx>
              <c:showLegendKey val="0"/>
              <c:showVal val="1"/>
              <c:showCatName val="0"/>
              <c:showSerName val="0"/>
              <c:showPercent val="0"/>
              <c:showBubbleSize val="0"/>
            </c:dLbl>
            <c:dLbl>
              <c:idx val="2"/>
              <c:tx>
                <c:rich>
                  <a:bodyPr/>
                  <a:lstStyle/>
                  <a:p>
                    <a:r>
                      <a:rPr>
                        <a:solidFill>
                          <a:srgbClr val="FFFFFF"/>
                        </a:solidFill>
                      </a:rPr>
                      <a:t>77.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37.785151</c:v>
                </c:pt>
                <c:pt idx="1">
                  <c:v>139.53867</c:v>
                </c:pt>
                <c:pt idx="2">
                  <c:v>77.30259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La Vache Qui Rit</c:v>
                </c:pt>
              </c:strCache>
            </c:strRef>
          </c:tx>
          <c:spPr>
            <a:solidFill>
              <a:srgbClr val="00A097"/>
            </a:solidFill>
            <a:ln>
              <a:solidFill>
                <a:schemeClr val="bg1"/>
              </a:solidFill>
            </a:ln>
            <a:effectLst/>
          </c:spPr>
          <c:invertIfNegative val="0"/>
          <c:dLbls>
            <c:dLbl>
              <c:idx val="0"/>
              <c:tx>
                <c:rich>
                  <a:bodyPr/>
                  <a:lstStyle/>
                  <a:p>
                    <a:r>
                      <a:rPr>
                        <a:solidFill>
                          <a:srgbClr val="FFFFFF"/>
                        </a:solidFill>
                      </a:rPr>
                      <a:t>125.2</a:t>
                    </a:r>
                  </a:p>
                </c:rich>
              </c:tx>
              <c:showLegendKey val="0"/>
              <c:showVal val="1"/>
              <c:showCatName val="0"/>
              <c:showSerName val="0"/>
              <c:showPercent val="0"/>
              <c:showBubbleSize val="0"/>
            </c:dLbl>
            <c:dLbl>
              <c:idx val="1"/>
              <c:tx>
                <c:rich>
                  <a:bodyPr/>
                  <a:lstStyle/>
                  <a:p>
                    <a:r>
                      <a:rPr>
                        <a:solidFill>
                          <a:srgbClr val="FFFFFF"/>
                        </a:solidFill>
                      </a:rPr>
                      <a:t>138.2</a:t>
                    </a:r>
                  </a:p>
                </c:rich>
              </c:tx>
              <c:showLegendKey val="0"/>
              <c:showVal val="1"/>
              <c:showCatName val="0"/>
              <c:showSerName val="0"/>
              <c:showPercent val="0"/>
              <c:showBubbleSize val="0"/>
            </c:dLbl>
            <c:dLbl>
              <c:idx val="2"/>
              <c:tx>
                <c:rich>
                  <a:bodyPr/>
                  <a:lstStyle/>
                  <a:p>
                    <a:r>
                      <a:rPr>
                        <a:solidFill>
                          <a:srgbClr val="FFFFFF"/>
                        </a:solidFill>
                      </a:rPr>
                      <a:t>8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25.196494</c:v>
                </c:pt>
                <c:pt idx="1">
                  <c:v>138.157614</c:v>
                </c:pt>
                <c:pt idx="2">
                  <c:v>85.99159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tx>
                <c:rich>
                  <a:bodyPr/>
                  <a:lstStyle/>
                  <a:p>
                    <a:r>
                      <a:rPr>
                        <a:solidFill>
                          <a:srgbClr val="FFFFFF"/>
                        </a:solidFill>
                      </a:rPr>
                      <a:t>99.9</a:t>
                    </a:r>
                  </a:p>
                </c:rich>
              </c:tx>
              <c:showLegendKey val="0"/>
              <c:showVal val="1"/>
              <c:showCatName val="0"/>
              <c:showSerName val="0"/>
              <c:showPercent val="0"/>
              <c:showBubbleSize val="0"/>
            </c:dLbl>
            <c:dLbl>
              <c:idx val="1"/>
              <c:tx>
                <c:rich>
                  <a:bodyPr/>
                  <a:lstStyle/>
                  <a:p>
                    <a:r>
                      <a:rPr>
                        <a:solidFill>
                          <a:srgbClr val="FFFFFF"/>
                        </a:solidFill>
                      </a:rPr>
                      <a:t>106.0</a:t>
                    </a:r>
                  </a:p>
                </c:rich>
              </c:tx>
              <c:showLegendKey val="0"/>
              <c:showVal val="1"/>
              <c:showCatName val="0"/>
              <c:showSerName val="0"/>
              <c:showPercent val="0"/>
              <c:showBubbleSize val="0"/>
            </c:dLbl>
            <c:dLbl>
              <c:idx val="2"/>
              <c:tx>
                <c:rich>
                  <a:bodyPr/>
                  <a:lstStyle/>
                  <a:p>
                    <a:r>
                      <a:rPr>
                        <a:solidFill>
                          <a:srgbClr val="FFFFFF"/>
                        </a:solidFill>
                      </a:rPr>
                      <a:t>6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99.904604</c:v>
                </c:pt>
                <c:pt idx="1">
                  <c:v>106.008905</c:v>
                </c:pt>
                <c:pt idx="2">
                  <c:v>65.459013</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Private Label</c:v>
                </c:pt>
              </c:strCache>
            </c:strRef>
          </c:tx>
          <c:spPr>
            <a:solidFill>
              <a:srgbClr val="575555"/>
            </a:solidFill>
            <a:ln>
              <a:solidFill>
                <a:schemeClr val="bg1"/>
              </a:solidFill>
            </a:ln>
            <a:effectLst/>
          </c:spPr>
          <c:invertIfNegative val="0"/>
          <c:dLbls>
            <c:dLbl>
              <c:idx val="0"/>
              <c:tx>
                <c:rich>
                  <a:bodyPr/>
                  <a:lstStyle/>
                  <a:p>
                    <a:r>
                      <a:rPr>
                        <a:solidFill>
                          <a:srgbClr val="FFFFFF"/>
                        </a:solidFill>
                      </a:rPr>
                      <a:t>93.2</a:t>
                    </a:r>
                  </a:p>
                </c:rich>
              </c:tx>
              <c:showLegendKey val="0"/>
              <c:showVal val="1"/>
              <c:showCatName val="0"/>
              <c:showSerName val="0"/>
              <c:showPercent val="0"/>
              <c:showBubbleSize val="0"/>
            </c:dLbl>
            <c:dLbl>
              <c:idx val="1"/>
              <c:tx>
                <c:rich>
                  <a:bodyPr/>
                  <a:lstStyle/>
                  <a:p>
                    <a:r>
                      <a:rPr>
                        <a:solidFill>
                          <a:srgbClr val="FFFFFF"/>
                        </a:solidFill>
                      </a:rPr>
                      <a:t>99.9</a:t>
                    </a:r>
                  </a:p>
                </c:rich>
              </c:tx>
              <c:showLegendKey val="0"/>
              <c:showVal val="1"/>
              <c:showCatName val="0"/>
              <c:showSerName val="0"/>
              <c:showPercent val="0"/>
              <c:showBubbleSize val="0"/>
            </c:dLbl>
            <c:dLbl>
              <c:idx val="2"/>
              <c:tx>
                <c:rich>
                  <a:bodyPr/>
                  <a:lstStyle/>
                  <a:p>
                    <a:r>
                      <a:rPr>
                        <a:solidFill>
                          <a:srgbClr val="FFFFFF"/>
                        </a:solidFill>
                      </a:rPr>
                      <a:t>55.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93.170103</c:v>
                </c:pt>
                <c:pt idx="1">
                  <c:v>99.86332</c:v>
                </c:pt>
                <c:pt idx="2">
                  <c:v>55.85793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6988</c:v>
                </c:pt>
                <c:pt idx="1">
                  <c:v>1.665074</c:v>
                </c:pt>
                <c:pt idx="2">
                  <c:v>1.05201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La Vache Qui Rit</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945843</c:v>
                </c:pt>
                <c:pt idx="1">
                  <c:v>3.188156</c:v>
                </c:pt>
                <c:pt idx="2">
                  <c:v>1.90617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ini Babybel</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539348</c:v>
                </c:pt>
                <c:pt idx="1">
                  <c:v>1.503334</c:v>
                </c:pt>
                <c:pt idx="2">
                  <c:v>0.805693</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598698</c:v>
                </c:pt>
                <c:pt idx="1">
                  <c:v>1.638781</c:v>
                </c:pt>
                <c:pt idx="2">
                  <c:v>1.08034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9.9</a:t>
                    </a:r>
                  </a:p>
                </c:rich>
              </c:tx>
              <c:showLegendKey val="0"/>
              <c:showVal val="1"/>
              <c:showCatName val="0"/>
              <c:showSerName val="0"/>
              <c:showPercent val="0"/>
              <c:showBubbleSize val="0"/>
            </c:dLbl>
            <c:dLbl>
              <c:idx val="1"/>
              <c:tx>
                <c:rich>
                  <a:bodyPr/>
                  <a:lstStyle/>
                  <a:p>
                    <a:r>
                      <a:rPr>
                        <a:solidFill>
                          <a:srgbClr val="FFFFFF"/>
                        </a:solidFill>
                      </a:rPr>
                      <a:t>20.0</a:t>
                    </a:r>
                  </a:p>
                </c:rich>
              </c:tx>
              <c:showLegendKey val="0"/>
              <c:showVal val="1"/>
              <c:showCatName val="0"/>
              <c:showSerName val="0"/>
              <c:showPercent val="0"/>
              <c:showBubbleSize val="0"/>
            </c:dLbl>
            <c:dLbl>
              <c:idx val="2"/>
              <c:tx>
                <c:rich>
                  <a:bodyPr/>
                  <a:lstStyle/>
                  <a:p>
                    <a:r>
                      <a:rPr>
                        <a:solidFill>
                          <a:srgbClr val="FFFFFF"/>
                        </a:solidFill>
                      </a:rPr>
                      <a:t>1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9.917561</c:v>
                </c:pt>
                <c:pt idx="1">
                  <c:v>19.967951</c:v>
                </c:pt>
                <c:pt idx="2">
                  <c:v>12.777548</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La Vache Qui Rit</c:v>
                </c:pt>
              </c:strCache>
            </c:strRef>
          </c:tx>
          <c:spPr>
            <a:solidFill>
              <a:srgbClr val="006C6D"/>
            </a:solidFill>
            <a:ln>
              <a:solidFill>
                <a:schemeClr val="bg1"/>
              </a:solidFill>
            </a:ln>
            <a:effectLst/>
          </c:spPr>
          <c:invertIfNegative val="0"/>
          <c:dLbls>
            <c:dLbl>
              <c:idx val="0"/>
              <c:tx>
                <c:rich>
                  <a:bodyPr/>
                  <a:lstStyle/>
                  <a:p>
                    <a:r>
                      <a:rPr>
                        <a:solidFill>
                          <a:srgbClr val="FFFFFF"/>
                        </a:solidFill>
                      </a:rPr>
                      <a:t>28.6</a:t>
                    </a:r>
                  </a:p>
                </c:rich>
              </c:tx>
              <c:showLegendKey val="0"/>
              <c:showVal val="1"/>
              <c:showCatName val="0"/>
              <c:showSerName val="0"/>
              <c:showPercent val="0"/>
              <c:showBubbleSize val="0"/>
            </c:dLbl>
            <c:dLbl>
              <c:idx val="1"/>
              <c:tx>
                <c:rich>
                  <a:bodyPr/>
                  <a:lstStyle/>
                  <a:p>
                    <a:r>
                      <a:rPr>
                        <a:solidFill>
                          <a:srgbClr val="FFFFFF"/>
                        </a:solidFill>
                      </a:rPr>
                      <a:t>30.7</a:t>
                    </a:r>
                  </a:p>
                </c:rich>
              </c:tx>
              <c:showLegendKey val="0"/>
              <c:showVal val="1"/>
              <c:showCatName val="0"/>
              <c:showSerName val="0"/>
              <c:showPercent val="0"/>
              <c:showBubbleSize val="0"/>
            </c:dLbl>
            <c:dLbl>
              <c:idx val="2"/>
              <c:tx>
                <c:rich>
                  <a:bodyPr/>
                  <a:lstStyle/>
                  <a:p>
                    <a:r>
                      <a:rPr>
                        <a:solidFill>
                          <a:srgbClr val="FFFFFF"/>
                        </a:solidFill>
                      </a:rPr>
                      <a:t>1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8.606175</c:v>
                </c:pt>
                <c:pt idx="1">
                  <c:v>30.664611</c:v>
                </c:pt>
                <c:pt idx="2">
                  <c:v>18.29236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ini Babybel</c:v>
                </c:pt>
              </c:strCache>
            </c:strRef>
          </c:tx>
          <c:spPr>
            <a:solidFill>
              <a:srgbClr val="9B9898"/>
            </a:solidFill>
            <a:ln>
              <a:solidFill>
                <a:schemeClr val="bg1"/>
              </a:solidFill>
            </a:ln>
            <a:effectLst/>
          </c:spPr>
          <c:invertIfNegative val="0"/>
          <c:dLbls>
            <c:dLbl>
              <c:idx val="0"/>
              <c:tx>
                <c:rich>
                  <a:bodyPr/>
                  <a:lstStyle/>
                  <a:p>
                    <a:r>
                      <a:rPr>
                        <a:solidFill>
                          <a:srgbClr val="FFFFFF"/>
                        </a:solidFill>
                      </a:rPr>
                      <a:t>23.6</a:t>
                    </a:r>
                  </a:p>
                </c:rich>
              </c:tx>
              <c:showLegendKey val="0"/>
              <c:showVal val="1"/>
              <c:showCatName val="0"/>
              <c:showSerName val="0"/>
              <c:showPercent val="0"/>
              <c:showBubbleSize val="0"/>
            </c:dLbl>
            <c:dLbl>
              <c:idx val="1"/>
              <c:tx>
                <c:rich>
                  <a:bodyPr/>
                  <a:lstStyle/>
                  <a:p>
                    <a:r>
                      <a:rPr>
                        <a:solidFill>
                          <a:srgbClr val="FFFFFF"/>
                        </a:solidFill>
                      </a:rPr>
                      <a:t>23.1</a:t>
                    </a:r>
                  </a:p>
                </c:rich>
              </c:tx>
              <c:showLegendKey val="0"/>
              <c:showVal val="1"/>
              <c:showCatName val="0"/>
              <c:showSerName val="0"/>
              <c:showPercent val="0"/>
              <c:showBubbleSize val="0"/>
            </c:dLbl>
            <c:dLbl>
              <c:idx val="2"/>
              <c:tx>
                <c:rich>
                  <a:bodyPr/>
                  <a:lstStyle/>
                  <a:p>
                    <a:r>
                      <a:rPr>
                        <a:solidFill>
                          <a:srgbClr val="FFFFFF"/>
                        </a:solidFill>
                      </a:rPr>
                      <a:t>13.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3.567103</c:v>
                </c:pt>
                <c:pt idx="1">
                  <c:v>23.055122</c:v>
                </c:pt>
                <c:pt idx="2">
                  <c:v>13.499564</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tx>
                <c:rich>
                  <a:bodyPr/>
                  <a:lstStyle/>
                  <a:p>
                    <a:r>
                      <a:rPr>
                        <a:solidFill>
                          <a:srgbClr val="FFFFFF"/>
                        </a:solidFill>
                      </a:rPr>
                      <a:t>19.4</a:t>
                    </a:r>
                  </a:p>
                </c:rich>
              </c:tx>
              <c:showLegendKey val="0"/>
              <c:showVal val="1"/>
              <c:showCatName val="0"/>
              <c:showSerName val="0"/>
              <c:showPercent val="0"/>
              <c:showBubbleSize val="0"/>
            </c:dLbl>
            <c:dLbl>
              <c:idx val="1"/>
              <c:tx>
                <c:rich>
                  <a:bodyPr/>
                  <a:lstStyle/>
                  <a:p>
                    <a:r>
                      <a:rPr>
                        <a:solidFill>
                          <a:srgbClr val="FFFFFF"/>
                        </a:solidFill>
                      </a:rPr>
                      <a:t>20.3</a:t>
                    </a:r>
                  </a:p>
                </c:rich>
              </c:tx>
              <c:showLegendKey val="0"/>
              <c:showVal val="1"/>
              <c:showCatName val="0"/>
              <c:showSerName val="0"/>
              <c:showPercent val="0"/>
              <c:showBubbleSize val="0"/>
            </c:dLbl>
            <c:dLbl>
              <c:idx val="2"/>
              <c:tx>
                <c:rich>
                  <a:bodyPr/>
                  <a:lstStyle/>
                  <a:p>
                    <a:r>
                      <a:rPr>
                        <a:solidFill>
                          <a:srgbClr val="FFFFFF"/>
                        </a:solidFill>
                      </a:rPr>
                      <a:t>1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9.361645</c:v>
                </c:pt>
                <c:pt idx="1">
                  <c:v>20.265773</c:v>
                </c:pt>
                <c:pt idx="2">
                  <c:v>13.10123</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5686</c:v>
                </c:pt>
                <c:pt idx="1">
                  <c:v>1.673669</c:v>
                </c:pt>
                <c:pt idx="2">
                  <c:v>0.97295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La Vache Qui Rit</c:v>
                </c:pt>
              </c:strCache>
            </c:strRef>
          </c:tx>
          <c:spPr>
            <a:solidFill>
              <a:srgbClr val="006C6D"/>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565805</c:v>
                </c:pt>
                <c:pt idx="1">
                  <c:v>1.922902</c:v>
                </c:pt>
                <c:pt idx="2">
                  <c:v>1.20744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Mini Babybel</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2</a:t>
                    </a:r>
                  </a:p>
                </c:rich>
              </c:tx>
              <c:showLegendKey val="0"/>
              <c:showVal val="1"/>
              <c:showCatName val="0"/>
              <c:showSerName val="0"/>
              <c:showPercent val="0"/>
              <c:showBubbleSize val="0"/>
            </c:dLbl>
            <c:dLbl>
              <c:idx val="2"/>
              <c:tx>
                <c:rich>
                  <a:bodyPr/>
                  <a:lstStyle/>
                  <a:p>
                    <a:r>
                      <a:rPr>
                        <a:solidFill>
                          <a:srgbClr val="FFFFFF"/>
                        </a:solidFill>
                      </a:rPr>
                      <a:t>0.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126806</c:v>
                </c:pt>
                <c:pt idx="1">
                  <c:v>1.212951</c:v>
                </c:pt>
                <c:pt idx="2">
                  <c:v>0.64049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1</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018398</c:v>
                </c:pt>
                <c:pt idx="1">
                  <c:v>1.092851</c:v>
                </c:pt>
                <c:pt idx="2">
                  <c:v>0.75653</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6.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7.2</a:t>
                    </a:r>
                  </a:p>
                </c:rich>
              </c:tx>
              <c:showLegendKey val="0"/>
              <c:showVal val="1"/>
              <c:showCatName val="0"/>
              <c:showSerName val="0"/>
              <c:showPercent val="0"/>
              <c:showBubbleSize val="0"/>
            </c:dLbl>
            <c:dLbl>
              <c:idx val="2"/>
              <c:tx>
                <c:rich>
                  <a:bodyPr/>
                  <a:lstStyle/>
                  <a:p>
                    <a:r>
                      <a:rPr>
                        <a:solidFill>
                          <a:srgbClr val="FFFFFF"/>
                        </a:solidFill>
                      </a:rPr>
                      <a:t>12.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6.427317</c:v>
                </c:pt>
                <c:pt idx="1">
                  <c:v>37.212708</c:v>
                </c:pt>
                <c:pt idx="2">
                  <c:v>12.83045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66.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7.5</a:t>
                    </a:r>
                  </a:p>
                </c:rich>
              </c:tx>
              <c:showLegendKey val="0"/>
              <c:showVal val="1"/>
              <c:showCatName val="0"/>
              <c:showSerName val="0"/>
              <c:showPercent val="0"/>
              <c:showBubbleSize val="0"/>
            </c:dLbl>
            <c:dLbl>
              <c:idx val="2"/>
              <c:tx>
                <c:rich>
                  <a:bodyPr/>
                  <a:lstStyle/>
                  <a:p>
                    <a:r>
                      <a:rPr>
                        <a:solidFill>
                          <a:srgbClr val="FFFFFF"/>
                        </a:solidFill>
                      </a:rPr>
                      <a:t>15.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66.293856</c:v>
                </c:pt>
                <c:pt idx="1">
                  <c:v>67.541016</c:v>
                </c:pt>
                <c:pt idx="2">
                  <c:v>15.06255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7</a:t>
                    </a:r>
                  </a:p>
                </c:rich>
              </c:tx>
              <c:showLegendKey val="0"/>
              <c:showVal val="1"/>
              <c:showCatName val="0"/>
              <c:showSerName val="0"/>
              <c:showPercent val="0"/>
              <c:showBubbleSize val="0"/>
            </c:dLbl>
            <c:dLbl>
              <c:idx val="2"/>
              <c:tx>
                <c:rich>
                  <a:bodyPr/>
                  <a:lstStyle/>
                  <a:p>
                    <a:r>
                      <a:rPr>
                        <a:solidFill>
                          <a:srgbClr val="FFFFFF"/>
                        </a:solidFill>
                      </a:rPr>
                      <a:t>2.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9.884821</c:v>
                </c:pt>
                <c:pt idx="1">
                  <c:v>9.747981</c:v>
                </c:pt>
                <c:pt idx="2">
                  <c:v>2.571435</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Entremont</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4</a:t>
                    </a:r>
                  </a:p>
                </c:rich>
              </c:tx>
              <c:showLegendKey val="0"/>
              <c:showVal val="1"/>
              <c:showCatName val="0"/>
              <c:showSerName val="0"/>
              <c:showPercent val="0"/>
              <c:showBubbleSize val="0"/>
            </c:dLbl>
            <c:dLbl>
              <c:idx val="2"/>
              <c:tx>
                <c:rich>
                  <a:bodyPr/>
                  <a:lstStyle/>
                  <a:p>
                    <a:r>
                      <a:rPr>
                        <a:solidFill>
                          <a:srgbClr val="FFFFFF"/>
                        </a:solidFill>
                      </a:rPr>
                      <a:t>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617729</c:v>
                </c:pt>
                <c:pt idx="1">
                  <c:v>3.369281</c:v>
                </c:pt>
                <c:pt idx="2">
                  <c:v>0.06770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Soign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8</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953605</c:v>
                </c:pt>
                <c:pt idx="1">
                  <c:v>2.806372</c:v>
                </c:pt>
                <c:pt idx="2">
                  <c:v>1.588237</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 Vache Qui Ri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7</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3.464316</c:v>
                </c:pt>
                <c:pt idx="1">
                  <c:v>3.659267</c:v>
                </c:pt>
                <c:pt idx="2">
                  <c:v>1.912927</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aprice Des Dieux</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345483</c:v>
                </c:pt>
                <c:pt idx="1">
                  <c:v>2.215857</c:v>
                </c:pt>
                <c:pt idx="2">
                  <c:v>1.4252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St More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8661</c:v>
                </c:pt>
                <c:pt idx="1">
                  <c:v>2.007214</c:v>
                </c:pt>
                <c:pt idx="2">
                  <c:v>1.39702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oeur De Li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0</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3.095152</c:v>
                </c:pt>
                <c:pt idx="1">
                  <c:v>3.036727</c:v>
                </c:pt>
                <c:pt idx="2">
                  <c:v>1.83721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Galbani</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063908</c:v>
                </c:pt>
                <c:pt idx="1">
                  <c:v>1.947838</c:v>
                </c:pt>
                <c:pt idx="2">
                  <c:v>1.03647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6.7</a:t>
                    </a:r>
                  </a:p>
                </c:rich>
              </c:tx>
              <c:showLegendKey val="0"/>
              <c:showVal val="1"/>
              <c:showCatName val="0"/>
              <c:showSerName val="0"/>
              <c:showPercent val="0"/>
              <c:showBubbleSize val="0"/>
            </c:dLbl>
            <c:dLbl>
              <c:idx val="1"/>
              <c:tx>
                <c:rich>
                  <a:bodyPr/>
                  <a:lstStyle/>
                  <a:p>
                    <a:r>
                      <a:rPr>
                        <a:solidFill>
                          <a:srgbClr val="FFFFFF"/>
                        </a:solidFill>
                      </a:rPr>
                      <a:t>17.7</a:t>
                    </a:r>
                  </a:p>
                </c:rich>
              </c:tx>
              <c:showLegendKey val="0"/>
              <c:showVal val="1"/>
              <c:showCatName val="0"/>
              <c:showSerName val="0"/>
              <c:showPercent val="0"/>
              <c:showBubbleSize val="0"/>
            </c:dLbl>
            <c:dLbl>
              <c:idx val="2"/>
              <c:tx>
                <c:rich>
                  <a:bodyPr/>
                  <a:lstStyle/>
                  <a:p>
                    <a:r>
                      <a:rPr>
                        <a:solidFill>
                          <a:srgbClr val="FFFFFF"/>
                        </a:solidFill>
                      </a:rPr>
                      <a:t>10.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657373</c:v>
                </c:pt>
                <c:pt idx="1">
                  <c:v>17.695797</c:v>
                </c:pt>
                <c:pt idx="2">
                  <c:v>10.67340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La Vache Qui Rit</c:v>
                </c:pt>
              </c:strCache>
            </c:strRef>
          </c:tx>
          <c:spPr>
            <a:solidFill>
              <a:srgbClr val="006C6D"/>
            </a:solidFill>
            <a:ln>
              <a:solidFill>
                <a:schemeClr val="bg1"/>
              </a:solidFill>
            </a:ln>
            <a:effectLst/>
          </c:spPr>
          <c:invertIfNegative val="0"/>
          <c:dLbls>
            <c:dLbl>
              <c:idx val="0"/>
              <c:tx>
                <c:rich>
                  <a:bodyPr/>
                  <a:lstStyle/>
                  <a:p>
                    <a:r>
                      <a:rPr>
                        <a:solidFill>
                          <a:srgbClr val="FFFFFF"/>
                        </a:solidFill>
                      </a:rPr>
                      <a:t>17.3</a:t>
                    </a:r>
                  </a:p>
                </c:rich>
              </c:tx>
              <c:showLegendKey val="0"/>
              <c:showVal val="1"/>
              <c:showCatName val="0"/>
              <c:showSerName val="0"/>
              <c:showPercent val="0"/>
              <c:showBubbleSize val="0"/>
            </c:dLbl>
            <c:dLbl>
              <c:idx val="1"/>
              <c:tx>
                <c:rich>
                  <a:bodyPr/>
                  <a:lstStyle/>
                  <a:p>
                    <a:r>
                      <a:rPr>
                        <a:solidFill>
                          <a:srgbClr val="FFFFFF"/>
                        </a:solidFill>
                      </a:rPr>
                      <a:t>20.3</a:t>
                    </a:r>
                  </a:p>
                </c:rich>
              </c:tx>
              <c:showLegendKey val="0"/>
              <c:showVal val="1"/>
              <c:showCatName val="0"/>
              <c:showSerName val="0"/>
              <c:showPercent val="0"/>
              <c:showBubbleSize val="0"/>
            </c:dLbl>
            <c:dLbl>
              <c:idx val="2"/>
              <c:tx>
                <c:rich>
                  <a:bodyPr/>
                  <a:lstStyle/>
                  <a:p>
                    <a:r>
                      <a:rPr>
                        <a:solidFill>
                          <a:srgbClr val="FFFFFF"/>
                        </a:solidFill>
                      </a:rPr>
                      <a:t>13.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7.254324</c:v>
                </c:pt>
                <c:pt idx="1">
                  <c:v>20.287153</c:v>
                </c:pt>
                <c:pt idx="2">
                  <c:v>13.438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Mini Babybel</c:v>
                </c:pt>
              </c:strCache>
            </c:strRef>
          </c:tx>
          <c:spPr>
            <a:solidFill>
              <a:srgbClr val="9B9898"/>
            </a:solidFill>
            <a:ln>
              <a:solidFill>
                <a:schemeClr val="bg1"/>
              </a:solidFill>
            </a:ln>
            <a:effectLst/>
          </c:spPr>
          <c:invertIfNegative val="0"/>
          <c:dLbls>
            <c:dLbl>
              <c:idx val="0"/>
              <c:tx>
                <c:rich>
                  <a:bodyPr/>
                  <a:lstStyle/>
                  <a:p>
                    <a:r>
                      <a:rPr>
                        <a:solidFill>
                          <a:srgbClr val="FFFFFF"/>
                        </a:solidFill>
                      </a:rPr>
                      <a:t>18.4</a:t>
                    </a:r>
                  </a:p>
                </c:rich>
              </c:tx>
              <c:showLegendKey val="0"/>
              <c:showVal val="1"/>
              <c:showCatName val="0"/>
              <c:showSerName val="0"/>
              <c:showPercent val="0"/>
              <c:showBubbleSize val="0"/>
            </c:dLbl>
            <c:dLbl>
              <c:idx val="1"/>
              <c:tx>
                <c:rich>
                  <a:bodyPr/>
                  <a:lstStyle/>
                  <a:p>
                    <a:r>
                      <a:rPr>
                        <a:solidFill>
                          <a:srgbClr val="FFFFFF"/>
                        </a:solidFill>
                      </a:rPr>
                      <a:t>20.0</a:t>
                    </a:r>
                  </a:p>
                </c:rich>
              </c:tx>
              <c:showLegendKey val="0"/>
              <c:showVal val="1"/>
              <c:showCatName val="0"/>
              <c:showSerName val="0"/>
              <c:showPercent val="0"/>
              <c:showBubbleSize val="0"/>
            </c:dLbl>
            <c:dLbl>
              <c:idx val="2"/>
              <c:tx>
                <c:rich>
                  <a:bodyPr/>
                  <a:lstStyle/>
                  <a:p>
                    <a:r>
                      <a:rPr>
                        <a:solidFill>
                          <a:srgbClr val="FFFFFF"/>
                        </a:solidFill>
                      </a:rPr>
                      <a:t>1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8.405198</c:v>
                </c:pt>
                <c:pt idx="1">
                  <c:v>20.029187</c:v>
                </c:pt>
                <c:pt idx="2">
                  <c:v>11.182759</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tx>
                <c:rich>
                  <a:bodyPr/>
                  <a:lstStyle/>
                  <a:p>
                    <a:r>
                      <a:rPr>
                        <a:solidFill>
                          <a:srgbClr val="FFFFFF"/>
                        </a:solidFill>
                      </a:rPr>
                      <a:t>13.3</a:t>
                    </a:r>
                  </a:p>
                </c:rich>
              </c:tx>
              <c:showLegendKey val="0"/>
              <c:showVal val="1"/>
              <c:showCatName val="0"/>
              <c:showSerName val="0"/>
              <c:showPercent val="0"/>
              <c:showBubbleSize val="0"/>
            </c:dLbl>
            <c:dLbl>
              <c:idx val="1"/>
              <c:tx>
                <c:rich>
                  <a:bodyPr/>
                  <a:lstStyle/>
                  <a:p>
                    <a:r>
                      <a:rPr>
                        <a:solidFill>
                          <a:srgbClr val="FFFFFF"/>
                        </a:solidFill>
                      </a:rPr>
                      <a:t>14.9</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3.337674</c:v>
                </c:pt>
                <c:pt idx="1">
                  <c:v>14.940985</c:v>
                </c:pt>
                <c:pt idx="2">
                  <c:v>10.07594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5.3</a:t>
                    </a:r>
                  </a:p>
                </c:rich>
              </c:tx>
              <c:showLegendKey val="0"/>
              <c:showVal val="1"/>
              <c:showCatName val="0"/>
              <c:showSerName val="0"/>
              <c:showPercent val="0"/>
              <c:showBubbleSize val="0"/>
            </c:dLbl>
            <c:dLbl>
              <c:idx val="2"/>
              <c:tx>
                <c:rich>
                  <a:bodyPr/>
                  <a:lstStyle/>
                  <a:p>
                    <a:r>
                      <a:rPr>
                        <a:solidFill>
                          <a:srgbClr val="FFFFFF"/>
                        </a:solidFill>
                      </a:rPr>
                      <a:t>16.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4.281762</c:v>
                </c:pt>
                <c:pt idx="1">
                  <c:v>25.305627</c:v>
                </c:pt>
                <c:pt idx="2">
                  <c:v>16.22581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St More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2</a:t>
                    </a:r>
                  </a:p>
                </c:rich>
              </c:tx>
              <c:showLegendKey val="0"/>
              <c:showVal val="1"/>
              <c:showCatName val="0"/>
              <c:showSerName val="0"/>
              <c:showPercent val="0"/>
              <c:showBubbleSize val="0"/>
            </c:dLbl>
            <c:dLbl>
              <c:idx val="2"/>
              <c:tx>
                <c:rich>
                  <a:bodyPr/>
                  <a:lstStyle/>
                  <a:p>
                    <a:r>
                      <a:rPr>
                        <a:solidFill>
                          <a:srgbClr val="FFFFFF"/>
                        </a:solidFill>
                      </a:rPr>
                      <a:t>9.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2.310804</c:v>
                </c:pt>
                <c:pt idx="1">
                  <c:v>13.223214</c:v>
                </c:pt>
                <c:pt idx="2">
                  <c:v>9.02857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rivate Label</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8</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5.548812</c:v>
                </c:pt>
                <c:pt idx="1">
                  <c:v>17.799778</c:v>
                </c:pt>
                <c:pt idx="2">
                  <c:v>10.10745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310.3</a:t>
                    </a:r>
                  </a:p>
                </c:rich>
              </c:tx>
              <c:showLegendKey val="0"/>
              <c:showVal val="1"/>
              <c:showCatName val="0"/>
              <c:showSerName val="0"/>
              <c:showPercent val="0"/>
              <c:showBubbleSize val="0"/>
            </c:dLbl>
            <c:dLbl>
              <c:idx val="1"/>
              <c:tx>
                <c:rich>
                  <a:bodyPr/>
                  <a:lstStyle/>
                  <a:p>
                    <a:r>
                      <a:rPr>
                        <a:solidFill>
                          <a:srgbClr val="FFFFFF"/>
                        </a:solidFill>
                      </a:rPr>
                      <a:t>322.7</a:t>
                    </a:r>
                  </a:p>
                </c:rich>
              </c:tx>
              <c:showLegendKey val="0"/>
              <c:showVal val="1"/>
              <c:showCatName val="0"/>
              <c:showSerName val="0"/>
              <c:showPercent val="0"/>
              <c:showBubbleSize val="0"/>
            </c:dLbl>
            <c:dLbl>
              <c:idx val="2"/>
              <c:tx>
                <c:rich>
                  <a:bodyPr/>
                  <a:lstStyle/>
                  <a:p>
                    <a:r>
                      <a:rPr>
                        <a:solidFill>
                          <a:srgbClr val="FFFFFF"/>
                        </a:solidFill>
                      </a:rPr>
                      <a:t>20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10.26106</c:v>
                </c:pt>
                <c:pt idx="1">
                  <c:v>322.675109</c:v>
                </c:pt>
                <c:pt idx="2">
                  <c:v>201.141726</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St Moret</c:v>
                </c:pt>
              </c:strCache>
            </c:strRef>
          </c:tx>
          <c:spPr>
            <a:solidFill>
              <a:srgbClr val="A6A6A6"/>
            </a:solidFill>
            <a:ln>
              <a:solidFill>
                <a:schemeClr val="bg1"/>
              </a:solidFill>
            </a:ln>
            <a:effectLst/>
          </c:spPr>
          <c:invertIfNegative val="0"/>
          <c:dLbls>
            <c:dLbl>
              <c:idx val="0"/>
              <c:tx>
                <c:rich>
                  <a:bodyPr/>
                  <a:lstStyle/>
                  <a:p>
                    <a:r>
                      <a:rPr>
                        <a:solidFill>
                          <a:srgbClr val="FFFFFF"/>
                        </a:solidFill>
                      </a:rPr>
                      <a:t>161.5</a:t>
                    </a:r>
                  </a:p>
                </c:rich>
              </c:tx>
              <c:showLegendKey val="0"/>
              <c:showVal val="1"/>
              <c:showCatName val="0"/>
              <c:showSerName val="0"/>
              <c:showPercent val="0"/>
              <c:showBubbleSize val="0"/>
            </c:dLbl>
            <c:dLbl>
              <c:idx val="1"/>
              <c:tx>
                <c:rich>
                  <a:bodyPr/>
                  <a:lstStyle/>
                  <a:p>
                    <a:r>
                      <a:rPr>
                        <a:solidFill>
                          <a:srgbClr val="FFFFFF"/>
                        </a:solidFill>
                      </a:rPr>
                      <a:t>172.3</a:t>
                    </a:r>
                  </a:p>
                </c:rich>
              </c:tx>
              <c:showLegendKey val="0"/>
              <c:showVal val="1"/>
              <c:showCatName val="0"/>
              <c:showSerName val="0"/>
              <c:showPercent val="0"/>
              <c:showBubbleSize val="0"/>
            </c:dLbl>
            <c:dLbl>
              <c:idx val="2"/>
              <c:tx>
                <c:rich>
                  <a:bodyPr/>
                  <a:lstStyle/>
                  <a:p>
                    <a:r>
                      <a:rPr>
                        <a:solidFill>
                          <a:srgbClr val="FFFFFF"/>
                        </a:solidFill>
                      </a:rPr>
                      <a:t>11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61.484844</c:v>
                </c:pt>
                <c:pt idx="1">
                  <c:v>172.27969</c:v>
                </c:pt>
                <c:pt idx="2">
                  <c:v>114.214057</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rivate Label</c:v>
                </c:pt>
              </c:strCache>
            </c:strRef>
          </c:tx>
          <c:spPr>
            <a:solidFill>
              <a:srgbClr val="9B9898"/>
            </a:solidFill>
            <a:ln>
              <a:solidFill>
                <a:schemeClr val="bg1"/>
              </a:solidFill>
            </a:ln>
            <a:effectLst/>
          </c:spPr>
          <c:invertIfNegative val="0"/>
          <c:dLbls>
            <c:dLbl>
              <c:idx val="0"/>
              <c:tx>
                <c:rich>
                  <a:bodyPr/>
                  <a:lstStyle/>
                  <a:p>
                    <a:r>
                      <a:rPr>
                        <a:solidFill>
                          <a:srgbClr val="FFFFFF"/>
                        </a:solidFill>
                      </a:rPr>
                      <a:t>123.6</a:t>
                    </a:r>
                  </a:p>
                </c:rich>
              </c:tx>
              <c:showLegendKey val="0"/>
              <c:showVal val="1"/>
              <c:showCatName val="0"/>
              <c:showSerName val="0"/>
              <c:showPercent val="0"/>
              <c:showBubbleSize val="0"/>
            </c:dLbl>
            <c:dLbl>
              <c:idx val="1"/>
              <c:tx>
                <c:rich>
                  <a:bodyPr/>
                  <a:lstStyle/>
                  <a:p>
                    <a:r>
                      <a:rPr>
                        <a:solidFill>
                          <a:srgbClr val="FFFFFF"/>
                        </a:solidFill>
                      </a:rPr>
                      <a:t>138.1</a:t>
                    </a:r>
                  </a:p>
                </c:rich>
              </c:tx>
              <c:showLegendKey val="0"/>
              <c:showVal val="1"/>
              <c:showCatName val="0"/>
              <c:showSerName val="0"/>
              <c:showPercent val="0"/>
              <c:showBubbleSize val="0"/>
            </c:dLbl>
            <c:dLbl>
              <c:idx val="2"/>
              <c:tx>
                <c:rich>
                  <a:bodyPr/>
                  <a:lstStyle/>
                  <a:p>
                    <a:r>
                      <a:rPr>
                        <a:solidFill>
                          <a:srgbClr val="FFFFFF"/>
                        </a:solidFill>
                      </a:rPr>
                      <a:t>76.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23.5658</c:v>
                </c:pt>
                <c:pt idx="1">
                  <c:v>138.065506</c:v>
                </c:pt>
                <c:pt idx="2">
                  <c:v>76.64569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4</a:t>
                    </a:r>
                  </a:p>
                </c:rich>
              </c:tx>
              <c:showLegendKey val="0"/>
              <c:showVal val="1"/>
              <c:showCatName val="0"/>
              <c:showSerName val="0"/>
              <c:showPercent val="0"/>
              <c:showBubbleSize val="0"/>
            </c:dLbl>
            <c:dLbl>
              <c:idx val="2"/>
              <c:tx>
                <c:rich>
                  <a:bodyPr/>
                  <a:lstStyle/>
                  <a:p>
                    <a:r>
                      <a:rPr>
                        <a:solidFill>
                          <a:srgbClr val="FFFFFF"/>
                        </a:solidFill>
                      </a:rPr>
                      <a:t>3.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222511</c:v>
                </c:pt>
                <c:pt idx="1">
                  <c:v>4.398429</c:v>
                </c:pt>
                <c:pt idx="2">
                  <c:v>3.0112</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St More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817189</c:v>
                </c:pt>
                <c:pt idx="1">
                  <c:v>1.96474</c:v>
                </c:pt>
                <c:pt idx="2">
                  <c:v>1.37177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rivate Label</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694685</c:v>
                </c:pt>
                <c:pt idx="1">
                  <c:v>1.967229</c:v>
                </c:pt>
                <c:pt idx="2">
                  <c:v>1.072655</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56.5</a:t>
                    </a:r>
                  </a:p>
                </c:rich>
              </c:tx>
              <c:showLegendKey val="0"/>
              <c:showVal val="1"/>
              <c:showCatName val="0"/>
              <c:showSerName val="0"/>
              <c:showPercent val="0"/>
              <c:showBubbleSize val="0"/>
            </c:dLbl>
            <c:dLbl>
              <c:idx val="1"/>
              <c:tx>
                <c:rich>
                  <a:bodyPr/>
                  <a:lstStyle/>
                  <a:p>
                    <a:r>
                      <a:rPr>
                        <a:solidFill>
                          <a:srgbClr val="FFFFFF"/>
                        </a:solidFill>
                      </a:rPr>
                      <a:t>58.0</a:t>
                    </a:r>
                  </a:p>
                </c:rich>
              </c:tx>
              <c:showLegendKey val="0"/>
              <c:showVal val="1"/>
              <c:showCatName val="0"/>
              <c:showSerName val="0"/>
              <c:showPercent val="0"/>
              <c:showBubbleSize val="0"/>
            </c:dLbl>
            <c:dLbl>
              <c:idx val="2"/>
              <c:tx>
                <c:rich>
                  <a:bodyPr/>
                  <a:lstStyle/>
                  <a:p>
                    <a:r>
                      <a:rPr>
                        <a:solidFill>
                          <a:srgbClr val="FFFFFF"/>
                        </a:solidFill>
                      </a:rPr>
                      <a:t>38.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6.476574</c:v>
                </c:pt>
                <c:pt idx="1">
                  <c:v>57.957372</c:v>
                </c:pt>
                <c:pt idx="2">
                  <c:v>38.358541</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St Moret</c:v>
                </c:pt>
              </c:strCache>
            </c:strRef>
          </c:tx>
          <c:spPr>
            <a:solidFill>
              <a:srgbClr val="A6A6A6"/>
            </a:solidFill>
            <a:ln>
              <a:solidFill>
                <a:schemeClr val="bg1"/>
              </a:solidFill>
            </a:ln>
            <a:effectLst/>
          </c:spPr>
          <c:invertIfNegative val="0"/>
          <c:dLbls>
            <c:dLbl>
              <c:idx val="0"/>
              <c:tx>
                <c:rich>
                  <a:bodyPr/>
                  <a:lstStyle/>
                  <a:p>
                    <a:r>
                      <a:rPr>
                        <a:solidFill>
                          <a:srgbClr val="FFFFFF"/>
                        </a:solidFill>
                      </a:rPr>
                      <a:t>26.4</a:t>
                    </a:r>
                  </a:p>
                </c:rich>
              </c:tx>
              <c:showLegendKey val="0"/>
              <c:showVal val="1"/>
              <c:showCatName val="0"/>
              <c:showSerName val="0"/>
              <c:showPercent val="0"/>
              <c:showBubbleSize val="0"/>
            </c:dLbl>
            <c:dLbl>
              <c:idx val="1"/>
              <c:tx>
                <c:rich>
                  <a:bodyPr/>
                  <a:lstStyle/>
                  <a:p>
                    <a:r>
                      <a:rPr>
                        <a:solidFill>
                          <a:srgbClr val="FFFFFF"/>
                        </a:solidFill>
                      </a:rPr>
                      <a:t>27.8</a:t>
                    </a:r>
                  </a:p>
                </c:rich>
              </c:tx>
              <c:showLegendKey val="0"/>
              <c:showVal val="1"/>
              <c:showCatName val="0"/>
              <c:showSerName val="0"/>
              <c:showPercent val="0"/>
              <c:showBubbleSize val="0"/>
            </c:dLbl>
            <c:dLbl>
              <c:idx val="2"/>
              <c:tx>
                <c:rich>
                  <a:bodyPr/>
                  <a:lstStyle/>
                  <a:p>
                    <a:r>
                      <a:rPr>
                        <a:solidFill>
                          <a:srgbClr val="FFFFFF"/>
                        </a:solidFill>
                      </a:rPr>
                      <a:t>18.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6.367336</c:v>
                </c:pt>
                <c:pt idx="1">
                  <c:v>27.761183</c:v>
                </c:pt>
                <c:pt idx="2">
                  <c:v>18.62545</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rivate Label</c:v>
                </c:pt>
              </c:strCache>
            </c:strRef>
          </c:tx>
          <c:spPr>
            <a:solidFill>
              <a:srgbClr val="9B9898"/>
            </a:solidFill>
            <a:ln>
              <a:solidFill>
                <a:schemeClr val="bg1"/>
              </a:solidFill>
            </a:ln>
            <a:effectLst/>
          </c:spPr>
          <c:invertIfNegative val="0"/>
          <c:dLbls>
            <c:dLbl>
              <c:idx val="0"/>
              <c:tx>
                <c:rich>
                  <a:bodyPr/>
                  <a:lstStyle/>
                  <a:p>
                    <a:r>
                      <a:rPr>
                        <a:solidFill>
                          <a:srgbClr val="FFFFFF"/>
                        </a:solidFill>
                      </a:rPr>
                      <a:t>15.3</a:t>
                    </a:r>
                  </a:p>
                </c:rich>
              </c:tx>
              <c:showLegendKey val="0"/>
              <c:showVal val="1"/>
              <c:showCatName val="0"/>
              <c:showSerName val="0"/>
              <c:showPercent val="0"/>
              <c:showBubbleSize val="0"/>
            </c:dLbl>
            <c:dLbl>
              <c:idx val="1"/>
              <c:tx>
                <c:rich>
                  <a:bodyPr/>
                  <a:lstStyle/>
                  <a:p>
                    <a:r>
                      <a:rPr>
                        <a:solidFill>
                          <a:srgbClr val="FFFFFF"/>
                        </a:solidFill>
                      </a:rPr>
                      <a:t>16.9</a:t>
                    </a:r>
                  </a:p>
                </c:rich>
              </c:tx>
              <c:showLegendKey val="0"/>
              <c:showVal val="1"/>
              <c:showCatName val="0"/>
              <c:showSerName val="0"/>
              <c:showPercent val="0"/>
              <c:showBubbleSize val="0"/>
            </c:dLbl>
            <c:dLbl>
              <c:idx val="2"/>
              <c:tx>
                <c:rich>
                  <a:bodyPr/>
                  <a:lstStyle/>
                  <a:p>
                    <a:r>
                      <a:rPr>
                        <a:solidFill>
                          <a:srgbClr val="FFFFFF"/>
                        </a:solidFill>
                      </a:rPr>
                      <a:t>8.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5.260714</c:v>
                </c:pt>
                <c:pt idx="1">
                  <c:v>16.868739</c:v>
                </c:pt>
                <c:pt idx="2">
                  <c:v>8.92764</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5</a:t>
                    </a:r>
                  </a:p>
                </c:rich>
              </c:tx>
              <c:showLegendKey val="0"/>
              <c:showVal val="1"/>
              <c:showCatName val="0"/>
              <c:showSerName val="0"/>
              <c:showPercent val="0"/>
              <c:showBubbleSize val="0"/>
            </c:dLbl>
            <c:dLbl>
              <c:idx val="2"/>
              <c:tx>
                <c:rich>
                  <a:bodyPr/>
                  <a:lstStyle/>
                  <a:p>
                    <a:r>
                      <a:rPr>
                        <a:solidFill>
                          <a:srgbClr val="FFFFFF"/>
                        </a:solidFill>
                      </a:rPr>
                      <a:t>2.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276201</c:v>
                </c:pt>
                <c:pt idx="1">
                  <c:v>3.544262</c:v>
                </c:pt>
                <c:pt idx="2">
                  <c:v>2.283615</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St Moret</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678248</c:v>
                </c:pt>
                <c:pt idx="1">
                  <c:v>1.97841</c:v>
                </c:pt>
                <c:pt idx="2">
                  <c:v>1.466755</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rivate Label</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69077</c:v>
                </c:pt>
                <c:pt idx="1">
                  <c:v>1.956395</c:v>
                </c:pt>
                <c:pt idx="2">
                  <c:v>1.0314</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42.5</a:t>
                    </a:r>
                  </a:p>
                </c:rich>
              </c:tx>
              <c:showLegendKey val="0"/>
              <c:showVal val="1"/>
              <c:showCatName val="0"/>
              <c:showSerName val="0"/>
              <c:showPercent val="0"/>
              <c:showBubbleSize val="0"/>
            </c:dLbl>
            <c:dLbl>
              <c:idx val="1"/>
              <c:tx>
                <c:rich>
                  <a:bodyPr/>
                  <a:lstStyle/>
                  <a:p>
                    <a:r>
                      <a:rPr>
                        <a:solidFill>
                          <a:srgbClr val="FFFFFF"/>
                        </a:solidFill>
                      </a:rPr>
                      <a:t>46.1</a:t>
                    </a:r>
                  </a:p>
                </c:rich>
              </c:tx>
              <c:showLegendKey val="0"/>
              <c:showVal val="1"/>
              <c:showCatName val="0"/>
              <c:showSerName val="0"/>
              <c:showPercent val="0"/>
              <c:showBubbleSize val="0"/>
            </c:dLbl>
            <c:dLbl>
              <c:idx val="2"/>
              <c:tx>
                <c:rich>
                  <a:bodyPr/>
                  <a:lstStyle/>
                  <a:p>
                    <a:r>
                      <a:rPr>
                        <a:solidFill>
                          <a:srgbClr val="FFFFFF"/>
                        </a:solidFill>
                      </a:rPr>
                      <a:t>29.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42.502571</c:v>
                </c:pt>
                <c:pt idx="1">
                  <c:v>46.108363</c:v>
                </c:pt>
                <c:pt idx="2">
                  <c:v>29.42386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St Moret</c:v>
                </c:pt>
              </c:strCache>
            </c:strRef>
          </c:tx>
          <c:spPr>
            <a:solidFill>
              <a:srgbClr val="A6A6A6"/>
            </a:solidFill>
            <a:ln>
              <a:solidFill>
                <a:schemeClr val="bg1"/>
              </a:solidFill>
            </a:ln>
            <a:effectLst/>
          </c:spPr>
          <c:invertIfNegative val="0"/>
          <c:dLbls>
            <c:dLbl>
              <c:idx val="0"/>
              <c:tx>
                <c:rich>
                  <a:bodyPr/>
                  <a:lstStyle/>
                  <a:p>
                    <a:r>
                      <a:rPr>
                        <a:solidFill>
                          <a:srgbClr val="FFFFFF"/>
                        </a:solidFill>
                      </a:rPr>
                      <a:t>21.7</a:t>
                    </a:r>
                  </a:p>
                </c:rich>
              </c:tx>
              <c:showLegendKey val="0"/>
              <c:showVal val="1"/>
              <c:showCatName val="0"/>
              <c:showSerName val="0"/>
              <c:showPercent val="0"/>
              <c:showBubbleSize val="0"/>
            </c:dLbl>
            <c:dLbl>
              <c:idx val="1"/>
              <c:tx>
                <c:rich>
                  <a:bodyPr/>
                  <a:lstStyle/>
                  <a:p>
                    <a:r>
                      <a:rPr>
                        <a:solidFill>
                          <a:srgbClr val="FFFFFF"/>
                        </a:solidFill>
                      </a:rPr>
                      <a:t>25.1</a:t>
                    </a:r>
                  </a:p>
                </c:rich>
              </c:tx>
              <c:showLegendKey val="0"/>
              <c:showVal val="1"/>
              <c:showCatName val="0"/>
              <c:showSerName val="0"/>
              <c:showPercent val="0"/>
              <c:showBubbleSize val="0"/>
            </c:dLbl>
            <c:dLbl>
              <c:idx val="2"/>
              <c:tx>
                <c:rich>
                  <a:bodyPr/>
                  <a:lstStyle/>
                  <a:p>
                    <a:r>
                      <a:rPr>
                        <a:solidFill>
                          <a:srgbClr val="FFFFFF"/>
                        </a:solidFill>
                      </a:rPr>
                      <a:t>18.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1.657387</c:v>
                </c:pt>
                <c:pt idx="1">
                  <c:v>25.08986</c:v>
                </c:pt>
                <c:pt idx="2">
                  <c:v>18.720661</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rivate Label</c:v>
                </c:pt>
              </c:strCache>
            </c:strRef>
          </c:tx>
          <c:spPr>
            <a:solidFill>
              <a:srgbClr val="9B9898"/>
            </a:solidFill>
            <a:ln>
              <a:solidFill>
                <a:schemeClr val="bg1"/>
              </a:solidFill>
            </a:ln>
            <a:effectLst/>
          </c:spPr>
          <c:invertIfNegative val="0"/>
          <c:dLbls>
            <c:dLbl>
              <c:idx val="0"/>
              <c:tx>
                <c:rich>
                  <a:bodyPr/>
                  <a:lstStyle/>
                  <a:p>
                    <a:r>
                      <a:rPr>
                        <a:solidFill>
                          <a:srgbClr val="FFFFFF"/>
                        </a:solidFill>
                      </a:rPr>
                      <a:t>13.1</a:t>
                    </a:r>
                  </a:p>
                </c:rich>
              </c:tx>
              <c:showLegendKey val="0"/>
              <c:showVal val="1"/>
              <c:showCatName val="0"/>
              <c:showSerName val="0"/>
              <c:showPercent val="0"/>
              <c:showBubbleSize val="0"/>
            </c:dLbl>
            <c:dLbl>
              <c:idx val="1"/>
              <c:tx>
                <c:rich>
                  <a:bodyPr/>
                  <a:lstStyle/>
                  <a:p>
                    <a:r>
                      <a:rPr>
                        <a:solidFill>
                          <a:srgbClr val="FFFFFF"/>
                        </a:solidFill>
                      </a:rPr>
                      <a:t>15.4</a:t>
                    </a:r>
                  </a:p>
                </c:rich>
              </c:tx>
              <c:showLegendKey val="0"/>
              <c:showVal val="1"/>
              <c:showCatName val="0"/>
              <c:showSerName val="0"/>
              <c:showPercent val="0"/>
              <c:showBubbleSize val="0"/>
            </c:dLbl>
            <c:dLbl>
              <c:idx val="2"/>
              <c:tx>
                <c:rich>
                  <a:bodyPr/>
                  <a:lstStyle/>
                  <a:p>
                    <a:r>
                      <a:rPr>
                        <a:solidFill>
                          <a:srgbClr val="FFFFFF"/>
                        </a:solidFill>
                      </a:rPr>
                      <a:t>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3.098208</c:v>
                </c:pt>
                <c:pt idx="1">
                  <c:v>15.412392</c:v>
                </c:pt>
                <c:pt idx="2">
                  <c:v>8.19766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2</a:t>
                    </a:r>
                  </a:p>
                </c:rich>
              </c:tx>
              <c:showLegendKey val="0"/>
              <c:showVal val="1"/>
              <c:showCatName val="0"/>
              <c:showSerName val="0"/>
              <c:showPercent val="0"/>
              <c:showBubbleSize val="0"/>
            </c:dLbl>
            <c:dLbl>
              <c:idx val="2"/>
              <c:tx>
                <c:rich>
                  <a:bodyPr/>
                  <a:lstStyle/>
                  <a:p>
                    <a:r>
                      <a:rPr>
                        <a:solidFill>
                          <a:srgbClr val="FFFFFF"/>
                        </a:solidFill>
                      </a:rPr>
                      <a:t>1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6.234607</c:v>
                </c:pt>
                <c:pt idx="1">
                  <c:v>16.153086</c:v>
                </c:pt>
                <c:pt idx="2">
                  <c:v>11.888393</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6.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0.8</a:t>
                    </a:r>
                  </a:p>
                </c:rich>
              </c:tx>
              <c:showLegendKey val="0"/>
              <c:showVal val="1"/>
              <c:showCatName val="0"/>
              <c:showSerName val="0"/>
              <c:showPercent val="0"/>
              <c:showBubbleSize val="0"/>
            </c:dLbl>
            <c:dLbl>
              <c:idx val="2"/>
              <c:tx>
                <c:rich>
                  <a:bodyPr/>
                  <a:lstStyle/>
                  <a:p>
                    <a:r>
                      <a:rPr>
                        <a:solidFill>
                          <a:srgbClr val="FFFFFF"/>
                        </a:solidFill>
                      </a:rPr>
                      <a:t>36.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46.208681</c:v>
                </c:pt>
                <c:pt idx="1">
                  <c:v>50.757236</c:v>
                </c:pt>
                <c:pt idx="2">
                  <c:v>36.160613</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Galbani</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3</a:t>
                    </a:r>
                  </a:p>
                </c:rich>
              </c:tx>
              <c:showLegendKey val="0"/>
              <c:showVal val="1"/>
              <c:showCatName val="0"/>
              <c:showSerName val="0"/>
              <c:showPercent val="0"/>
              <c:showBubbleSize val="0"/>
            </c:dLbl>
            <c:dLbl>
              <c:idx val="2"/>
              <c:tx>
                <c:rich>
                  <a:bodyPr/>
                  <a:lstStyle/>
                  <a:p>
                    <a:r>
                      <a:rPr>
                        <a:solidFill>
                          <a:srgbClr val="FFFFFF"/>
                        </a:solidFill>
                      </a:rPr>
                      <a:t>6.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9.687475</c:v>
                </c:pt>
                <c:pt idx="1">
                  <c:v>9.2957</c:v>
                </c:pt>
                <c:pt idx="2">
                  <c:v>6.59856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244.2</a:t>
                    </a:r>
                  </a:p>
                </c:rich>
              </c:tx>
              <c:showLegendKey val="0"/>
              <c:showVal val="1"/>
              <c:showCatName val="0"/>
              <c:showSerName val="0"/>
              <c:showPercent val="0"/>
              <c:showBubbleSize val="0"/>
            </c:dLbl>
            <c:dLbl>
              <c:idx val="1"/>
              <c:tx>
                <c:rich>
                  <a:bodyPr/>
                  <a:lstStyle/>
                  <a:p>
                    <a:r>
                      <a:rPr>
                        <a:solidFill>
                          <a:srgbClr val="FFFFFF"/>
                        </a:solidFill>
                      </a:rPr>
                      <a:t>249.1</a:t>
                    </a:r>
                  </a:p>
                </c:rich>
              </c:tx>
              <c:showLegendKey val="0"/>
              <c:showVal val="1"/>
              <c:showCatName val="0"/>
              <c:showSerName val="0"/>
              <c:showPercent val="0"/>
              <c:showBubbleSize val="0"/>
            </c:dLbl>
            <c:dLbl>
              <c:idx val="2"/>
              <c:tx>
                <c:rich>
                  <a:bodyPr/>
                  <a:lstStyle/>
                  <a:p>
                    <a:r>
                      <a:rPr>
                        <a:solidFill>
                          <a:srgbClr val="FFFFFF"/>
                        </a:solidFill>
                      </a:rPr>
                      <a:t>188.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44.191559</c:v>
                </c:pt>
                <c:pt idx="1">
                  <c:v>249.103277</c:v>
                </c:pt>
                <c:pt idx="2">
                  <c:v>188.04332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a:solidFill>
                          <a:srgbClr val="FFFFFF"/>
                        </a:solidFill>
                      </a:rPr>
                      <a:t>497.6</a:t>
                    </a:r>
                  </a:p>
                </c:rich>
              </c:tx>
              <c:showLegendKey val="0"/>
              <c:showVal val="1"/>
              <c:showCatName val="0"/>
              <c:showSerName val="0"/>
              <c:showPercent val="0"/>
              <c:showBubbleSize val="0"/>
            </c:dLbl>
            <c:dLbl>
              <c:idx val="1"/>
              <c:tx>
                <c:rich>
                  <a:bodyPr/>
                  <a:lstStyle/>
                  <a:p>
                    <a:r>
                      <a:rPr>
                        <a:solidFill>
                          <a:srgbClr val="FFFFFF"/>
                        </a:solidFill>
                      </a:rPr>
                      <a:t>560.6</a:t>
                    </a:r>
                  </a:p>
                </c:rich>
              </c:tx>
              <c:showLegendKey val="0"/>
              <c:showVal val="1"/>
              <c:showCatName val="0"/>
              <c:showSerName val="0"/>
              <c:showPercent val="0"/>
              <c:showBubbleSize val="0"/>
            </c:dLbl>
            <c:dLbl>
              <c:idx val="2"/>
              <c:tx>
                <c:rich>
                  <a:bodyPr/>
                  <a:lstStyle/>
                  <a:p>
                    <a:r>
                      <a:rPr>
                        <a:solidFill>
                          <a:srgbClr val="FFFFFF"/>
                        </a:solidFill>
                      </a:rPr>
                      <a:t>40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497.637072</c:v>
                </c:pt>
                <c:pt idx="1">
                  <c:v>560.578505</c:v>
                </c:pt>
                <c:pt idx="2">
                  <c:v>408.21165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Galbani</c:v>
                </c:pt>
              </c:strCache>
            </c:strRef>
          </c:tx>
          <c:spPr>
            <a:solidFill>
              <a:srgbClr val="9B9898"/>
            </a:solidFill>
            <a:ln>
              <a:solidFill>
                <a:schemeClr val="bg1"/>
              </a:solidFill>
            </a:ln>
            <a:effectLst/>
          </c:spPr>
          <c:invertIfNegative val="0"/>
          <c:dLbls>
            <c:dLbl>
              <c:idx val="0"/>
              <c:tx>
                <c:rich>
                  <a:bodyPr/>
                  <a:lstStyle/>
                  <a:p>
                    <a:r>
                      <a:rPr>
                        <a:solidFill>
                          <a:srgbClr val="FFFFFF"/>
                        </a:solidFill>
                      </a:rPr>
                      <a:t>118.7</a:t>
                    </a:r>
                  </a:p>
                </c:rich>
              </c:tx>
              <c:showLegendKey val="0"/>
              <c:showVal val="1"/>
              <c:showCatName val="0"/>
              <c:showSerName val="0"/>
              <c:showPercent val="0"/>
              <c:showBubbleSize val="0"/>
            </c:dLbl>
            <c:dLbl>
              <c:idx val="1"/>
              <c:tx>
                <c:rich>
                  <a:bodyPr/>
                  <a:lstStyle/>
                  <a:p>
                    <a:r>
                      <a:rPr>
                        <a:solidFill>
                          <a:srgbClr val="FFFFFF"/>
                        </a:solidFill>
                      </a:rPr>
                      <a:t>113.4</a:t>
                    </a:r>
                  </a:p>
                </c:rich>
              </c:tx>
              <c:showLegendKey val="0"/>
              <c:showVal val="1"/>
              <c:showCatName val="0"/>
              <c:showSerName val="0"/>
              <c:showPercent val="0"/>
              <c:showBubbleSize val="0"/>
            </c:dLbl>
            <c:dLbl>
              <c:idx val="2"/>
              <c:tx>
                <c:rich>
                  <a:bodyPr/>
                  <a:lstStyle/>
                  <a:p>
                    <a:r>
                      <a:rPr>
                        <a:solidFill>
                          <a:srgbClr val="FFFFFF"/>
                        </a:solidFill>
                      </a:rPr>
                      <a:t>8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18.690345</c:v>
                </c:pt>
                <c:pt idx="1">
                  <c:v>113.390809</c:v>
                </c:pt>
                <c:pt idx="2">
                  <c:v>84.337405</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1</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061657</c:v>
                </c:pt>
                <c:pt idx="1">
                  <c:v>3.145038</c:v>
                </c:pt>
                <c:pt idx="2">
                  <c:v>2.49061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7.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2</a:t>
                    </a:r>
                  </a:p>
                </c:rich>
              </c:tx>
              <c:showLegendKey val="0"/>
              <c:showVal val="1"/>
              <c:showCatName val="0"/>
              <c:showSerName val="0"/>
              <c:showPercent val="0"/>
              <c:showBubbleSize val="0"/>
            </c:dLbl>
            <c:dLbl>
              <c:idx val="2"/>
              <c:tx>
                <c:rich>
                  <a:bodyPr/>
                  <a:lstStyle/>
                  <a:p>
                    <a:r>
                      <a:rPr>
                        <a:solidFill>
                          <a:srgbClr val="FFFFFF"/>
                        </a:solidFill>
                      </a:rPr>
                      <a:t>5.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7.812837</c:v>
                </c:pt>
                <c:pt idx="1">
                  <c:v>8.153381</c:v>
                </c:pt>
                <c:pt idx="2">
                  <c:v>5.607898</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Galbani</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4</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609608</c:v>
                </c:pt>
                <c:pt idx="1">
                  <c:v>1.448303</c:v>
                </c:pt>
                <c:pt idx="2">
                  <c:v>1.028696</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559.6</a:t>
                    </a:r>
                  </a:p>
                </c:rich>
              </c:tx>
              <c:showLegendKey val="0"/>
              <c:showVal val="1"/>
              <c:showCatName val="0"/>
              <c:showSerName val="0"/>
              <c:showPercent val="0"/>
              <c:showBubbleSize val="0"/>
            </c:dLbl>
            <c:dLbl>
              <c:idx val="1"/>
              <c:tx>
                <c:rich>
                  <a:bodyPr/>
                  <a:lstStyle/>
                  <a:p>
                    <a:r>
                      <a:rPr>
                        <a:solidFill>
                          <a:srgbClr val="FFFFFF"/>
                        </a:solidFill>
                      </a:rPr>
                      <a:t>569.5</a:t>
                    </a:r>
                  </a:p>
                </c:rich>
              </c:tx>
              <c:showLegendKey val="0"/>
              <c:showVal val="1"/>
              <c:showCatName val="0"/>
              <c:showSerName val="0"/>
              <c:showPercent val="0"/>
              <c:showBubbleSize val="0"/>
            </c:dLbl>
            <c:dLbl>
              <c:idx val="2"/>
              <c:tx>
                <c:rich>
                  <a:bodyPr/>
                  <a:lstStyle/>
                  <a:p>
                    <a:r>
                      <a:rPr>
                        <a:solidFill>
                          <a:srgbClr val="FFFFFF"/>
                        </a:solidFill>
                      </a:rPr>
                      <a:t>197.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59.591275</c:v>
                </c:pt>
                <c:pt idx="1">
                  <c:v>569.493578</c:v>
                </c:pt>
                <c:pt idx="2">
                  <c:v>197.17477</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a:solidFill>
                          <a:srgbClr val="FFFFFF"/>
                        </a:solidFill>
                      </a:rPr>
                      <a:t>739.2</a:t>
                    </a:r>
                  </a:p>
                </c:rich>
              </c:tx>
              <c:showLegendKey val="0"/>
              <c:showVal val="1"/>
              <c:showCatName val="0"/>
              <c:showSerName val="0"/>
              <c:showPercent val="0"/>
              <c:showBubbleSize val="0"/>
            </c:dLbl>
            <c:dLbl>
              <c:idx val="1"/>
              <c:tx>
                <c:rich>
                  <a:bodyPr/>
                  <a:lstStyle/>
                  <a:p>
                    <a:r>
                      <a:rPr>
                        <a:solidFill>
                          <a:srgbClr val="FFFFFF"/>
                        </a:solidFill>
                      </a:rPr>
                      <a:t>750.9</a:t>
                    </a:r>
                  </a:p>
                </c:rich>
              </c:tx>
              <c:showLegendKey val="0"/>
              <c:showVal val="1"/>
              <c:showCatName val="0"/>
              <c:showSerName val="0"/>
              <c:showPercent val="0"/>
              <c:showBubbleSize val="0"/>
            </c:dLbl>
            <c:dLbl>
              <c:idx val="2"/>
              <c:tx>
                <c:rich>
                  <a:bodyPr/>
                  <a:lstStyle/>
                  <a:p>
                    <a:r>
                      <a:rPr>
                        <a:solidFill>
                          <a:srgbClr val="FFFFFF"/>
                        </a:solidFill>
                      </a:rPr>
                      <a:t>16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739.197316</c:v>
                </c:pt>
                <c:pt idx="1">
                  <c:v>750.875405</c:v>
                </c:pt>
                <c:pt idx="2">
                  <c:v>162.485149</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tx>
                <c:rich>
                  <a:bodyPr/>
                  <a:lstStyle/>
                  <a:p>
                    <a:r>
                      <a:rPr>
                        <a:solidFill>
                          <a:srgbClr val="FFFFFF"/>
                        </a:solidFill>
                      </a:rPr>
                      <a:t>104.9</a:t>
                    </a:r>
                  </a:p>
                </c:rich>
              </c:tx>
              <c:showLegendKey val="0"/>
              <c:showVal val="1"/>
              <c:showCatName val="0"/>
              <c:showSerName val="0"/>
              <c:showPercent val="0"/>
              <c:showBubbleSize val="0"/>
            </c:dLbl>
            <c:dLbl>
              <c:idx val="1"/>
              <c:tx>
                <c:rich>
                  <a:bodyPr/>
                  <a:lstStyle/>
                  <a:p>
                    <a:r>
                      <a:rPr>
                        <a:solidFill>
                          <a:srgbClr val="FFFFFF"/>
                        </a:solidFill>
                      </a:rPr>
                      <a:t>103.6</a:t>
                    </a:r>
                  </a:p>
                </c:rich>
              </c:tx>
              <c:showLegendKey val="0"/>
              <c:showVal val="1"/>
              <c:showCatName val="0"/>
              <c:showSerName val="0"/>
              <c:showPercent val="0"/>
              <c:showBubbleSize val="0"/>
            </c:dLbl>
            <c:dLbl>
              <c:idx val="2"/>
              <c:tx>
                <c:rich>
                  <a:bodyPr/>
                  <a:lstStyle/>
                  <a:p>
                    <a:r>
                      <a:rPr>
                        <a:solidFill>
                          <a:srgbClr val="FFFFFF"/>
                        </a:solidFill>
                      </a:rPr>
                      <a:t>24.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04.911667</c:v>
                </c:pt>
                <c:pt idx="1">
                  <c:v>103.586089</c:v>
                </c:pt>
                <c:pt idx="2">
                  <c:v>24.144246</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Entremont</c:v>
                </c:pt>
              </c:strCache>
            </c:strRef>
          </c:tx>
          <c:spPr>
            <a:solidFill>
              <a:srgbClr val="7F7F7F"/>
            </a:solidFill>
            <a:ln>
              <a:solidFill>
                <a:schemeClr val="bg1"/>
              </a:solidFill>
            </a:ln>
            <a:effectLst/>
          </c:spPr>
          <c:invertIfNegative val="0"/>
          <c:dLbls>
            <c:dLbl>
              <c:idx val="0"/>
              <c:tx>
                <c:rich>
                  <a:bodyPr/>
                  <a:lstStyle/>
                  <a:p>
                    <a:r>
                      <a:rPr>
                        <a:solidFill>
                          <a:srgbClr val="FFFFFF"/>
                        </a:solidFill>
                      </a:rPr>
                      <a:t>52.7</a:t>
                    </a:r>
                  </a:p>
                </c:rich>
              </c:tx>
              <c:showLegendKey val="0"/>
              <c:showVal val="1"/>
              <c:showCatName val="0"/>
              <c:showSerName val="0"/>
              <c:showPercent val="0"/>
              <c:showBubbleSize val="0"/>
            </c:dLbl>
            <c:dLbl>
              <c:idx val="1"/>
              <c:tx>
                <c:rich>
                  <a:bodyPr/>
                  <a:lstStyle/>
                  <a:p>
                    <a:r>
                      <a:rPr>
                        <a:solidFill>
                          <a:srgbClr val="FFFFFF"/>
                        </a:solidFill>
                      </a:rPr>
                      <a:t>50.1</a:t>
                    </a:r>
                  </a:p>
                </c:rich>
              </c:tx>
              <c:showLegendKey val="0"/>
              <c:showVal val="1"/>
              <c:showCatName val="0"/>
              <c:showSerName val="0"/>
              <c:showPercent val="0"/>
              <c:showBubbleSize val="0"/>
            </c:dLbl>
            <c:dLbl>
              <c:idx val="2"/>
              <c:tx>
                <c:rich>
                  <a:bodyPr/>
                  <a:lstStyle/>
                  <a:p>
                    <a:r>
                      <a:rPr>
                        <a:solidFill>
                          <a:srgbClr val="FFFFFF"/>
                        </a:solidFill>
                      </a:rPr>
                      <a:t>1.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52.700908</c:v>
                </c:pt>
                <c:pt idx="1">
                  <c:v>50.090411</c:v>
                </c:pt>
                <c:pt idx="2">
                  <c:v>1.00465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Soignon</c:v>
                </c:pt>
              </c:strCache>
            </c:strRef>
          </c:tx>
          <c:spPr>
            <a:solidFill>
              <a:srgbClr val="575555"/>
            </a:solidFill>
            <a:ln>
              <a:solidFill>
                <a:schemeClr val="bg1"/>
              </a:solidFill>
            </a:ln>
            <a:effectLst/>
          </c:spPr>
          <c:invertIfNegative val="0"/>
          <c:dLbls>
            <c:dLbl>
              <c:idx val="0"/>
              <c:tx>
                <c:rich>
                  <a:bodyPr/>
                  <a:lstStyle/>
                  <a:p>
                    <a:r>
                      <a:rPr>
                        <a:solidFill>
                          <a:srgbClr val="FFFFFF"/>
                        </a:solidFill>
                      </a:rPr>
                      <a:t>39.3</a:t>
                    </a:r>
                  </a:p>
                </c:rich>
              </c:tx>
              <c:showLegendKey val="0"/>
              <c:showVal val="1"/>
              <c:showCatName val="0"/>
              <c:showSerName val="0"/>
              <c:showPercent val="0"/>
              <c:showBubbleSize val="0"/>
            </c:dLbl>
            <c:dLbl>
              <c:idx val="1"/>
              <c:tx>
                <c:rich>
                  <a:bodyPr/>
                  <a:lstStyle/>
                  <a:p>
                    <a:r>
                      <a:rPr>
                        <a:solidFill>
                          <a:srgbClr val="FFFFFF"/>
                        </a:solidFill>
                      </a:rPr>
                      <a:t>37.7</a:t>
                    </a:r>
                  </a:p>
                </c:rich>
              </c:tx>
              <c:showLegendKey val="0"/>
              <c:showVal val="1"/>
              <c:showCatName val="0"/>
              <c:showSerName val="0"/>
              <c:showPercent val="0"/>
              <c:showBubbleSize val="0"/>
            </c:dLbl>
            <c:dLbl>
              <c:idx val="2"/>
              <c:tx>
                <c:rich>
                  <a:bodyPr/>
                  <a:lstStyle/>
                  <a:p>
                    <a:r>
                      <a:rPr>
                        <a:solidFill>
                          <a:srgbClr val="FFFFFF"/>
                        </a:solidFill>
                      </a:rPr>
                      <a:t>20.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39.334771</c:v>
                </c:pt>
                <c:pt idx="1">
                  <c:v>37.715445</c:v>
                </c:pt>
                <c:pt idx="2">
                  <c:v>20.163884</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a Vache Qui Rit</c:v>
                </c:pt>
              </c:strCache>
            </c:strRef>
          </c:tx>
          <c:spPr>
            <a:solidFill>
              <a:srgbClr val="B2DFDC"/>
            </a:solidFill>
            <a:ln>
              <a:solidFill>
                <a:schemeClr val="bg1"/>
              </a:solidFill>
            </a:ln>
            <a:effectLst/>
          </c:spPr>
          <c:invertIfNegative val="0"/>
          <c:dLbls>
            <c:dLbl>
              <c:idx val="0"/>
              <c:tx>
                <c:rich>
                  <a:bodyPr/>
                  <a:lstStyle/>
                  <a:p>
                    <a:r>
                      <a:rPr>
                        <a:solidFill>
                          <a:srgbClr val="FFFFFF"/>
                        </a:solidFill>
                      </a:rPr>
                      <a:t>33.1</a:t>
                    </a:r>
                  </a:p>
                </c:rich>
              </c:tx>
              <c:showLegendKey val="0"/>
              <c:showVal val="1"/>
              <c:showCatName val="0"/>
              <c:showSerName val="0"/>
              <c:showPercent val="0"/>
              <c:showBubbleSize val="0"/>
            </c:dLbl>
            <c:dLbl>
              <c:idx val="1"/>
              <c:tx>
                <c:rich>
                  <a:bodyPr/>
                  <a:lstStyle/>
                  <a:p>
                    <a:r>
                      <a:rPr>
                        <a:solidFill>
                          <a:srgbClr val="FFFFFF"/>
                        </a:solidFill>
                      </a:rPr>
                      <a:t>34.8</a:t>
                    </a:r>
                  </a:p>
                </c:rich>
              </c:tx>
              <c:showLegendKey val="0"/>
              <c:showVal val="1"/>
              <c:showCatName val="0"/>
              <c:showSerName val="0"/>
              <c:showPercent val="0"/>
              <c:showBubbleSize val="0"/>
            </c:dLbl>
            <c:dLbl>
              <c:idx val="2"/>
              <c:tx>
                <c:rich>
                  <a:bodyPr/>
                  <a:lstStyle/>
                  <a:p>
                    <a:r>
                      <a:rPr>
                        <a:solidFill>
                          <a:srgbClr val="FFFFFF"/>
                        </a:solidFill>
                      </a:rPr>
                      <a:t>18.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33.094673</c:v>
                </c:pt>
                <c:pt idx="1">
                  <c:v>34.813234</c:v>
                </c:pt>
                <c:pt idx="2">
                  <c:v>18.35141</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aprice Des Dieux</c:v>
                </c:pt>
              </c:strCache>
            </c:strRef>
          </c:tx>
          <c:spPr>
            <a:solidFill>
              <a:srgbClr val="575555"/>
            </a:solidFill>
            <a:ln>
              <a:solidFill>
                <a:schemeClr val="bg1"/>
              </a:solidFill>
            </a:ln>
            <a:effectLst/>
          </c:spPr>
          <c:invertIfNegative val="0"/>
          <c:dLbls>
            <c:dLbl>
              <c:idx val="0"/>
              <c:tx>
                <c:rich>
                  <a:bodyPr/>
                  <a:lstStyle/>
                  <a:p>
                    <a:r>
                      <a:rPr>
                        <a:solidFill>
                          <a:srgbClr val="FFFFFF"/>
                        </a:solidFill>
                      </a:rPr>
                      <a:t>30.9</a:t>
                    </a:r>
                  </a:p>
                </c:rich>
              </c:tx>
              <c:showLegendKey val="0"/>
              <c:showVal val="1"/>
              <c:showCatName val="0"/>
              <c:showSerName val="0"/>
              <c:showPercent val="0"/>
              <c:showBubbleSize val="0"/>
            </c:dLbl>
            <c:dLbl>
              <c:idx val="1"/>
              <c:tx>
                <c:rich>
                  <a:bodyPr/>
                  <a:lstStyle/>
                  <a:p>
                    <a:r>
                      <a:rPr>
                        <a:solidFill>
                          <a:srgbClr val="FFFFFF"/>
                        </a:solidFill>
                      </a:rPr>
                      <a:t>30.7</a:t>
                    </a:r>
                  </a:p>
                </c:rich>
              </c:tx>
              <c:showLegendKey val="0"/>
              <c:showVal val="1"/>
              <c:showCatName val="0"/>
              <c:showSerName val="0"/>
              <c:showPercent val="0"/>
              <c:showBubbleSize val="0"/>
            </c:dLbl>
            <c:dLbl>
              <c:idx val="2"/>
              <c:tx>
                <c:rich>
                  <a:bodyPr/>
                  <a:lstStyle/>
                  <a:p>
                    <a:r>
                      <a:rPr>
                        <a:solidFill>
                          <a:srgbClr val="FFFFFF"/>
                        </a:solidFill>
                      </a:rPr>
                      <a:t>19.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30.855018</c:v>
                </c:pt>
                <c:pt idx="1">
                  <c:v>30.667442</c:v>
                </c:pt>
                <c:pt idx="2">
                  <c:v>19.469749</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St Moret</c:v>
                </c:pt>
              </c:strCache>
            </c:strRef>
          </c:tx>
          <c:spPr>
            <a:solidFill>
              <a:srgbClr val="575555"/>
            </a:solidFill>
            <a:ln>
              <a:solidFill>
                <a:schemeClr val="bg1"/>
              </a:solidFill>
            </a:ln>
            <a:effectLst/>
          </c:spPr>
          <c:invertIfNegative val="0"/>
          <c:dLbls>
            <c:dLbl>
              <c:idx val="0"/>
              <c:tx>
                <c:rich>
                  <a:bodyPr/>
                  <a:lstStyle/>
                  <a:p>
                    <a:r>
                      <a:rPr>
                        <a:solidFill>
                          <a:srgbClr val="FFFFFF"/>
                        </a:solidFill>
                      </a:rPr>
                      <a:t>27.7</a:t>
                    </a:r>
                  </a:p>
                </c:rich>
              </c:tx>
              <c:showLegendKey val="0"/>
              <c:showVal val="1"/>
              <c:showCatName val="0"/>
              <c:showSerName val="0"/>
              <c:showPercent val="0"/>
              <c:showBubbleSize val="0"/>
            </c:dLbl>
            <c:dLbl>
              <c:idx val="1"/>
              <c:tx>
                <c:rich>
                  <a:bodyPr/>
                  <a:lstStyle/>
                  <a:p>
                    <a:r>
                      <a:rPr>
                        <a:solidFill>
                          <a:srgbClr val="FFFFFF"/>
                        </a:solidFill>
                      </a:rPr>
                      <a:t>28.9</a:t>
                    </a:r>
                  </a:p>
                </c:rich>
              </c:tx>
              <c:showLegendKey val="0"/>
              <c:showVal val="1"/>
              <c:showCatName val="0"/>
              <c:showSerName val="0"/>
              <c:showPercent val="0"/>
              <c:showBubbleSize val="0"/>
            </c:dLbl>
            <c:dLbl>
              <c:idx val="2"/>
              <c:tx>
                <c:rich>
                  <a:bodyPr/>
                  <a:lstStyle/>
                  <a:p>
                    <a:r>
                      <a:rPr>
                        <a:solidFill>
                          <a:srgbClr val="FFFFFF"/>
                        </a:solidFill>
                      </a:rPr>
                      <a:t>19.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7.693245</c:v>
                </c:pt>
                <c:pt idx="1">
                  <c:v>28.876939</c:v>
                </c:pt>
                <c:pt idx="2">
                  <c:v>19.303809</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oeur De Lion</c:v>
                </c:pt>
              </c:strCache>
            </c:strRef>
          </c:tx>
          <c:spPr>
            <a:solidFill>
              <a:srgbClr val="575555"/>
            </a:solidFill>
            <a:ln>
              <a:solidFill>
                <a:schemeClr val="bg1"/>
              </a:solidFill>
            </a:ln>
            <a:effectLst/>
          </c:spPr>
          <c:invertIfNegative val="0"/>
          <c:dLbls>
            <c:dLbl>
              <c:idx val="0"/>
              <c:tx>
                <c:rich>
                  <a:bodyPr/>
                  <a:lstStyle/>
                  <a:p>
                    <a:r>
                      <a:rPr>
                        <a:solidFill>
                          <a:srgbClr val="FFFFFF"/>
                        </a:solidFill>
                      </a:rPr>
                      <a:t>25.7</a:t>
                    </a:r>
                  </a:p>
                </c:rich>
              </c:tx>
              <c:showLegendKey val="0"/>
              <c:showVal val="1"/>
              <c:showCatName val="0"/>
              <c:showSerName val="0"/>
              <c:showPercent val="0"/>
              <c:showBubbleSize val="0"/>
            </c:dLbl>
            <c:dLbl>
              <c:idx val="1"/>
              <c:tx>
                <c:rich>
                  <a:bodyPr/>
                  <a:lstStyle/>
                  <a:p>
                    <a:r>
                      <a:rPr>
                        <a:solidFill>
                          <a:srgbClr val="FFFFFF"/>
                        </a:solidFill>
                      </a:rPr>
                      <a:t>25.4</a:t>
                    </a:r>
                  </a:p>
                </c:rich>
              </c:tx>
              <c:showLegendKey val="0"/>
              <c:showVal val="1"/>
              <c:showCatName val="0"/>
              <c:showSerName val="0"/>
              <c:showPercent val="0"/>
              <c:showBubbleSize val="0"/>
            </c:dLbl>
            <c:dLbl>
              <c:idx val="2"/>
              <c:tx>
                <c:rich>
                  <a:bodyPr/>
                  <a:lstStyle/>
                  <a:p>
                    <a:r>
                      <a:rPr>
                        <a:solidFill>
                          <a:srgbClr val="FFFFFF"/>
                        </a:solidFill>
                      </a:rPr>
                      <a:t>15.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5.677885</c:v>
                </c:pt>
                <c:pt idx="1">
                  <c:v>25.358957</c:v>
                </c:pt>
                <c:pt idx="2">
                  <c:v>15.21522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Galbani</c:v>
                </c:pt>
              </c:strCache>
            </c:strRef>
          </c:tx>
          <c:spPr>
            <a:solidFill>
              <a:srgbClr val="575555"/>
            </a:solidFill>
            <a:ln>
              <a:solidFill>
                <a:schemeClr val="bg1"/>
              </a:solidFill>
            </a:ln>
            <a:effectLst/>
          </c:spPr>
          <c:invertIfNegative val="0"/>
          <c:dLbls>
            <c:dLbl>
              <c:idx val="0"/>
              <c:tx>
                <c:rich>
                  <a:bodyPr/>
                  <a:lstStyle/>
                  <a:p>
                    <a:r>
                      <a:rPr>
                        <a:solidFill>
                          <a:srgbClr val="FFFFFF"/>
                        </a:solidFill>
                      </a:rPr>
                      <a:t>26.0</a:t>
                    </a:r>
                  </a:p>
                </c:rich>
              </c:tx>
              <c:showLegendKey val="0"/>
              <c:showVal val="1"/>
              <c:showCatName val="0"/>
              <c:showSerName val="0"/>
              <c:showPercent val="0"/>
              <c:showBubbleSize val="0"/>
            </c:dLbl>
            <c:dLbl>
              <c:idx val="1"/>
              <c:tx>
                <c:rich>
                  <a:bodyPr/>
                  <a:lstStyle/>
                  <a:p>
                    <a:r>
                      <a:rPr>
                        <a:solidFill>
                          <a:srgbClr val="FFFFFF"/>
                        </a:solidFill>
                      </a:rPr>
                      <a:t>24.9</a:t>
                    </a:r>
                  </a:p>
                </c:rich>
              </c:tx>
              <c:showLegendKey val="0"/>
              <c:showVal val="1"/>
              <c:showCatName val="0"/>
              <c:showSerName val="0"/>
              <c:showPercent val="0"/>
              <c:showBubbleSize val="0"/>
            </c:dLbl>
            <c:dLbl>
              <c:idx val="2"/>
              <c:tx>
                <c:rich>
                  <a:bodyPr/>
                  <a:lstStyle/>
                  <a:p>
                    <a:r>
                      <a:rPr>
                        <a:solidFill>
                          <a:srgbClr val="FFFFFF"/>
                        </a:solidFill>
                      </a:rPr>
                      <a:t>13.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5.958373</c:v>
                </c:pt>
                <c:pt idx="1">
                  <c:v>24.922046</c:v>
                </c:pt>
                <c:pt idx="2">
                  <c:v>13.22958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50.3</a:t>
                    </a:r>
                  </a:p>
                </c:rich>
              </c:tx>
              <c:showLegendKey val="0"/>
              <c:showVal val="1"/>
              <c:showCatName val="0"/>
              <c:showSerName val="0"/>
              <c:showPercent val="0"/>
              <c:showBubbleSize val="0"/>
            </c:dLbl>
            <c:dLbl>
              <c:idx val="1"/>
              <c:tx>
                <c:rich>
                  <a:bodyPr/>
                  <a:lstStyle/>
                  <a:p>
                    <a:r>
                      <a:rPr>
                        <a:solidFill>
                          <a:srgbClr val="FFFFFF"/>
                        </a:solidFill>
                      </a:rPr>
                      <a:t>50.3</a:t>
                    </a:r>
                  </a:p>
                </c:rich>
              </c:tx>
              <c:showLegendKey val="0"/>
              <c:showVal val="1"/>
              <c:showCatName val="0"/>
              <c:showSerName val="0"/>
              <c:showPercent val="0"/>
              <c:showBubbleSize val="0"/>
            </c:dLbl>
            <c:dLbl>
              <c:idx val="2"/>
              <c:tx>
                <c:rich>
                  <a:bodyPr/>
                  <a:lstStyle/>
                  <a:p>
                    <a:r>
                      <a:rPr>
                        <a:solidFill>
                          <a:srgbClr val="FFFFFF"/>
                        </a:solidFill>
                      </a:rPr>
                      <a:t>4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50.261375</c:v>
                </c:pt>
                <c:pt idx="1">
                  <c:v>50.322988</c:v>
                </c:pt>
                <c:pt idx="2">
                  <c:v>40.788534</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a:solidFill>
                          <a:srgbClr val="FFFFFF"/>
                        </a:solidFill>
                      </a:rPr>
                      <a:t>92.7</a:t>
                    </a:r>
                  </a:p>
                </c:rich>
              </c:tx>
              <c:showLegendKey val="0"/>
              <c:showVal val="1"/>
              <c:showCatName val="0"/>
              <c:showSerName val="0"/>
              <c:showPercent val="0"/>
              <c:showBubbleSize val="0"/>
            </c:dLbl>
            <c:dLbl>
              <c:idx val="1"/>
              <c:tx>
                <c:rich>
                  <a:bodyPr/>
                  <a:lstStyle/>
                  <a:p>
                    <a:r>
                      <a:rPr>
                        <a:solidFill>
                          <a:srgbClr val="FFFFFF"/>
                        </a:solidFill>
                      </a:rPr>
                      <a:t>97.9</a:t>
                    </a:r>
                  </a:p>
                </c:rich>
              </c:tx>
              <c:showLegendKey val="0"/>
              <c:showVal val="1"/>
              <c:showCatName val="0"/>
              <c:showSerName val="0"/>
              <c:showPercent val="0"/>
              <c:showBubbleSize val="0"/>
            </c:dLbl>
            <c:dLbl>
              <c:idx val="2"/>
              <c:tx>
                <c:rich>
                  <a:bodyPr/>
                  <a:lstStyle/>
                  <a:p>
                    <a:r>
                      <a:rPr>
                        <a:solidFill>
                          <a:srgbClr val="FFFFFF"/>
                        </a:solidFill>
                      </a:rPr>
                      <a:t>69.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92.7214</c:v>
                </c:pt>
                <c:pt idx="1">
                  <c:v>97.875775</c:v>
                </c:pt>
                <c:pt idx="2">
                  <c:v>69.052396</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Galbani</c:v>
                </c:pt>
              </c:strCache>
            </c:strRef>
          </c:tx>
          <c:spPr>
            <a:solidFill>
              <a:srgbClr val="9B9898"/>
            </a:solidFill>
            <a:ln>
              <a:solidFill>
                <a:schemeClr val="bg1"/>
              </a:solidFill>
            </a:ln>
            <a:effectLst/>
          </c:spPr>
          <c:invertIfNegative val="0"/>
          <c:dLbls>
            <c:dLbl>
              <c:idx val="0"/>
              <c:tx>
                <c:rich>
                  <a:bodyPr/>
                  <a:lstStyle/>
                  <a:p>
                    <a:r>
                      <a:rPr>
                        <a:solidFill>
                          <a:srgbClr val="FFFFFF"/>
                        </a:solidFill>
                      </a:rPr>
                      <a:t>19.5</a:t>
                    </a:r>
                  </a:p>
                </c:rich>
              </c:tx>
              <c:showLegendKey val="0"/>
              <c:showVal val="1"/>
              <c:showCatName val="0"/>
              <c:showSerName val="0"/>
              <c:showPercent val="0"/>
              <c:showBubbleSize val="0"/>
            </c:dLbl>
            <c:dLbl>
              <c:idx val="1"/>
              <c:tx>
                <c:rich>
                  <a:bodyPr/>
                  <a:lstStyle/>
                  <a:p>
                    <a:r>
                      <a:rPr>
                        <a:solidFill>
                          <a:srgbClr val="FFFFFF"/>
                        </a:solidFill>
                      </a:rPr>
                      <a:t>17.6</a:t>
                    </a:r>
                  </a:p>
                </c:rich>
              </c:tx>
              <c:showLegendKey val="0"/>
              <c:showVal val="1"/>
              <c:showCatName val="0"/>
              <c:showSerName val="0"/>
              <c:showPercent val="0"/>
              <c:showBubbleSize val="0"/>
            </c:dLbl>
            <c:dLbl>
              <c:idx val="2"/>
              <c:tx>
                <c:rich>
                  <a:bodyPr/>
                  <a:lstStyle/>
                  <a:p>
                    <a:r>
                      <a:rPr>
                        <a:solidFill>
                          <a:srgbClr val="FFFFFF"/>
                        </a:solidFill>
                      </a:rPr>
                      <a:t>13.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9.543755</c:v>
                </c:pt>
                <c:pt idx="1">
                  <c:v>17.645352</c:v>
                </c:pt>
                <c:pt idx="2">
                  <c:v>13.1104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429279</c:v>
                </c:pt>
                <c:pt idx="1">
                  <c:v>1.576956</c:v>
                </c:pt>
                <c:pt idx="2">
                  <c:v>1.279028</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5.9</a:t>
                    </a:r>
                  </a:p>
                </c:rich>
              </c:tx>
              <c:showLegendKey val="0"/>
              <c:showVal val="1"/>
              <c:showCatName val="0"/>
              <c:showSerName val="0"/>
              <c:showPercent val="0"/>
              <c:showBubbleSize val="0"/>
            </c:dLbl>
            <c:dLbl>
              <c:idx val="2"/>
              <c:tx>
                <c:rich>
                  <a:bodyPr/>
                  <a:lstStyle/>
                  <a:p>
                    <a:r>
                      <a:rPr>
                        <a:solidFill>
                          <a:srgbClr val="FFFFFF"/>
                        </a:solidFill>
                      </a:rPr>
                      <a:t>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172674</c:v>
                </c:pt>
                <c:pt idx="1">
                  <c:v>5.88947</c:v>
                </c:pt>
                <c:pt idx="2">
                  <c:v>4.201732</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Galbani</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6</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494695</c:v>
                </c:pt>
                <c:pt idx="1">
                  <c:v>1.555583</c:v>
                </c:pt>
                <c:pt idx="2">
                  <c:v>1.18053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20.1</a:t>
                    </a:r>
                  </a:p>
                </c:rich>
              </c:tx>
              <c:showLegendKey val="0"/>
              <c:showVal val="1"/>
              <c:showCatName val="0"/>
              <c:showSerName val="0"/>
              <c:showPercent val="0"/>
              <c:showBubbleSize val="0"/>
            </c:dLbl>
            <c:dLbl>
              <c:idx val="1"/>
              <c:tx>
                <c:rich>
                  <a:bodyPr/>
                  <a:lstStyle/>
                  <a:p>
                    <a:r>
                      <a:rPr>
                        <a:solidFill>
                          <a:srgbClr val="FFFFFF"/>
                        </a:solidFill>
                      </a:rPr>
                      <a:t>23.6</a:t>
                    </a:r>
                  </a:p>
                </c:rich>
              </c:tx>
              <c:showLegendKey val="0"/>
              <c:showVal val="1"/>
              <c:showCatName val="0"/>
              <c:showSerName val="0"/>
              <c:showPercent val="0"/>
              <c:showBubbleSize val="0"/>
            </c:dLbl>
            <c:dLbl>
              <c:idx val="2"/>
              <c:tx>
                <c:rich>
                  <a:bodyPr/>
                  <a:lstStyle/>
                  <a:p>
                    <a:r>
                      <a:rPr>
                        <a:solidFill>
                          <a:srgbClr val="FFFFFF"/>
                        </a:solidFill>
                      </a:rPr>
                      <a:t>20.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0.11943</c:v>
                </c:pt>
                <c:pt idx="1">
                  <c:v>23.611316</c:v>
                </c:pt>
                <c:pt idx="2">
                  <c:v>20.334082</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a:solidFill>
                          <a:srgbClr val="FFFFFF"/>
                        </a:solidFill>
                      </a:rPr>
                      <a:t>52.8</a:t>
                    </a:r>
                  </a:p>
                </c:rich>
              </c:tx>
              <c:showLegendKey val="0"/>
              <c:showVal val="1"/>
              <c:showCatName val="0"/>
              <c:showSerName val="0"/>
              <c:showPercent val="0"/>
              <c:showBubbleSize val="0"/>
            </c:dLbl>
            <c:dLbl>
              <c:idx val="1"/>
              <c:tx>
                <c:rich>
                  <a:bodyPr/>
                  <a:lstStyle/>
                  <a:p>
                    <a:r>
                      <a:rPr>
                        <a:solidFill>
                          <a:srgbClr val="FFFFFF"/>
                        </a:solidFill>
                      </a:rPr>
                      <a:t>61.4</a:t>
                    </a:r>
                  </a:p>
                </c:rich>
              </c:tx>
              <c:showLegendKey val="0"/>
              <c:showVal val="1"/>
              <c:showCatName val="0"/>
              <c:showSerName val="0"/>
              <c:showPercent val="0"/>
              <c:showBubbleSize val="0"/>
            </c:dLbl>
            <c:dLbl>
              <c:idx val="2"/>
              <c:tx>
                <c:rich>
                  <a:bodyPr/>
                  <a:lstStyle/>
                  <a:p>
                    <a:r>
                      <a:rPr>
                        <a:solidFill>
                          <a:srgbClr val="FFFFFF"/>
                        </a:solidFill>
                      </a:rPr>
                      <a:t>44.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2.849614</c:v>
                </c:pt>
                <c:pt idx="1">
                  <c:v>61.380705</c:v>
                </c:pt>
                <c:pt idx="2">
                  <c:v>44.63084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Galbani</c:v>
                </c:pt>
              </c:strCache>
            </c:strRef>
          </c:tx>
          <c:spPr>
            <a:solidFill>
              <a:srgbClr val="9B9898"/>
            </a:solidFill>
            <a:ln>
              <a:solidFill>
                <a:schemeClr val="bg1"/>
              </a:solidFill>
            </a:ln>
            <a:effectLst/>
          </c:spPr>
          <c:invertIfNegative val="0"/>
          <c:dLbls>
            <c:dLbl>
              <c:idx val="0"/>
              <c:tx>
                <c:rich>
                  <a:bodyPr/>
                  <a:lstStyle/>
                  <a:p>
                    <a:r>
                      <a:rPr>
                        <a:solidFill>
                          <a:srgbClr val="FFFFFF"/>
                        </a:solidFill>
                      </a:rPr>
                      <a:t>18.1</a:t>
                    </a:r>
                  </a:p>
                </c:rich>
              </c:tx>
              <c:showLegendKey val="0"/>
              <c:showVal val="1"/>
              <c:showCatName val="0"/>
              <c:showSerName val="0"/>
              <c:showPercent val="0"/>
              <c:showBubbleSize val="0"/>
            </c:dLbl>
            <c:dLbl>
              <c:idx val="1"/>
              <c:tx>
                <c:rich>
                  <a:bodyPr/>
                  <a:lstStyle/>
                  <a:p>
                    <a:r>
                      <a:rPr>
                        <a:solidFill>
                          <a:srgbClr val="FFFFFF"/>
                        </a:solidFill>
                      </a:rPr>
                      <a:t>18.7</a:t>
                    </a:r>
                  </a:p>
                </c:rich>
              </c:tx>
              <c:showLegendKey val="0"/>
              <c:showVal val="1"/>
              <c:showCatName val="0"/>
              <c:showSerName val="0"/>
              <c:showPercent val="0"/>
              <c:showBubbleSize val="0"/>
            </c:dLbl>
            <c:dLbl>
              <c:idx val="2"/>
              <c:tx>
                <c:rich>
                  <a:bodyPr/>
                  <a:lstStyle/>
                  <a:p>
                    <a:r>
                      <a:rPr>
                        <a:solidFill>
                          <a:srgbClr val="FFFFFF"/>
                        </a:solidFill>
                      </a:rPr>
                      <a:t>1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18.138535</c:v>
                </c:pt>
                <c:pt idx="1">
                  <c:v>18.737305</c:v>
                </c:pt>
                <c:pt idx="2">
                  <c:v>15.660399</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1%</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185152346758977</c:v>
                </c:pt>
                <c:pt idx="1">
                  <c:v>0.3122381819519334</c:v>
                </c:pt>
                <c:pt idx="2">
                  <c:v>0.3412540285136741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8%</a:t>
                    </a:r>
                  </a:p>
                </c:rich>
              </c:tx>
              <c:showLegendKey val="0"/>
              <c:showVal val="1"/>
              <c:showCatName val="0"/>
              <c:showSerName val="0"/>
              <c:showPercent val="0"/>
              <c:showBubbleSize val="0"/>
            </c:dLbl>
            <c:dLbl>
              <c:idx val="1"/>
              <c:tx>
                <c:rich>
                  <a:bodyPr/>
                  <a:lstStyle/>
                  <a:p>
                    <a:r>
                      <a:rPr sz="800">
                        <a:solidFill>
                          <a:srgbClr val="FFFFFF"/>
                        </a:solidFill>
                        <a:latin typeface="Nexa Book"/>
                      </a:rPr>
                      <a:t>49%</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81168870410662</c:v>
                </c:pt>
                <c:pt idx="1">
                  <c:v>0.4900373604234909</c:v>
                </c:pt>
                <c:pt idx="2">
                  <c:v>0.4056563986851365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130298520071021</c:v>
                </c:pt>
                <c:pt idx="1">
                  <c:v>0.06048955875137322</c:v>
                </c:pt>
                <c:pt idx="2">
                  <c:v>0.055432222647483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Entremont</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270703317353796</c:v>
                </c:pt>
                <c:pt idx="1">
                  <c:v>0.032602526920669984</c:v>
                </c:pt>
                <c:pt idx="2">
                  <c:v>0.013153636279852764</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Soign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4265767556377146</c:v>
                </c:pt>
                <c:pt idx="1">
                  <c:v>0.022493739148486708</c:v>
                </c:pt>
                <c:pt idx="2">
                  <c:v>0.03561524668871464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St More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728352118751649</c:v>
                </c:pt>
                <c:pt idx="1">
                  <c:v>0.017746803570915813</c:v>
                </c:pt>
                <c:pt idx="2">
                  <c:v>0.0366320211807607</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aprice Des Dieux</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8136501773292426</c:v>
                </c:pt>
                <c:pt idx="1">
                  <c:v>0.0179490052019378</c:v>
                </c:pt>
                <c:pt idx="2">
                  <c:v>0.03309144824956788</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Galbani</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7106797488853454</c:v>
                </c:pt>
                <c:pt idx="1">
                  <c:v>0.016649279687358146</c:v>
                </c:pt>
                <c:pt idx="2">
                  <c:v>0.027677390640427815</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oeur De Li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5593292364447512</c:v>
                </c:pt>
                <c:pt idx="1">
                  <c:v>0.014985557725623896</c:v>
                </c:pt>
                <c:pt idx="2">
                  <c:v>0.02522149180551422</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La Vache Qui Rit</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1%</a:t>
                    </a:r>
                  </a:p>
                </c:rich>
              </c:tx>
              <c:showLegendKey val="0"/>
              <c:showVal val="1"/>
              <c:showCatName val="0"/>
              <c:showSerName val="0"/>
              <c:showPercent val="0"/>
              <c:showBubbleSize val="0"/>
            </c:dLbl>
            <c:dLbl>
              <c:idx val="1"/>
              <c:tx>
                <c:rich>
                  <a:bodyPr/>
                  <a:lstStyle/>
                  <a:p>
                    <a:r>
                      <a:rPr sz="800">
                        <a:solidFill>
                          <a:srgbClr val="FFFFFF"/>
                        </a:solidFill>
                        <a:latin typeface="Nexa Book"/>
                      </a:rPr>
                      <a:t>1%</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39199961687051</c:v>
                </c:pt>
                <c:pt idx="1">
                  <c:v>0.014807986618210131</c:v>
                </c:pt>
                <c:pt idx="2">
                  <c:v>0.02626611530886819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28094502627268</c:v>
                </c:pt>
                <c:pt idx="1">
                  <c:v>0.24562276888876705</c:v>
                </c:pt>
                <c:pt idx="2">
                  <c:v>0.26271364172449346</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486403613274761</c:v>
                </c:pt>
                <c:pt idx="1">
                  <c:v>0.5592514370499746</c:v>
                </c:pt>
                <c:pt idx="2">
                  <c:v>0.477937856241280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633086344973345</c:v>
                </c:pt>
                <c:pt idx="1">
                  <c:v>0.065669572088873</c:v>
                </c:pt>
                <c:pt idx="2">
                  <c:v>0.06603981415385102</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Entremont</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5976961535907627</c:v>
                </c:pt>
                <c:pt idx="1">
                  <c:v>0.025298677514545353</c:v>
                </c:pt>
                <c:pt idx="2">
                  <c:v>0.010121043752673742</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Soign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2016415050592715</c:v>
                </c:pt>
                <c:pt idx="1">
                  <c:v>0.020387525928189702</c:v>
                </c:pt>
                <c:pt idx="2">
                  <c:v>0.033320598886400085</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St More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4795588615276637</c:v>
                </c:pt>
                <c:pt idx="1">
                  <c:v>0.015336979716952323</c:v>
                </c:pt>
                <c:pt idx="2">
                  <c:v>0.032333213806208336</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aprice Des Dieux</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628388636815746</c:v>
                </c:pt>
                <c:pt idx="1">
                  <c:v>0.01570534142363448</c:v>
                </c:pt>
                <c:pt idx="2">
                  <c:v>0.02855280476901038</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Galbani</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5358095777786209</c:v>
                </c:pt>
                <c:pt idx="1">
                  <c:v>0.014830341856040197</c:v>
                </c:pt>
                <c:pt idx="2">
                  <c:v>0.02462284273912326</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oeur De Li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2218600726929594</c:v>
                </c:pt>
                <c:pt idx="1">
                  <c:v>0.021073611175325357</c:v>
                </c:pt>
                <c:pt idx="2">
                  <c:v>0.03519596162838021</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La Vache Qui Rit</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5569776885413542</c:v>
                </c:pt>
                <c:pt idx="1">
                  <c:v>0.016823744357697883</c:v>
                </c:pt>
                <c:pt idx="2">
                  <c:v>0.029162222298579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34%</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414192245184343</c:v>
                </c:pt>
                <c:pt idx="1">
                  <c:v>0.3438141355298343</c:v>
                </c:pt>
                <c:pt idx="2">
                  <c:v>0.401952492293256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5%</a:t>
                    </a:r>
                  </a:p>
                </c:rich>
              </c:tx>
              <c:showLegendKey val="0"/>
              <c:showVal val="1"/>
              <c:showCatName val="0"/>
              <c:showSerName val="0"/>
              <c:showPercent val="0"/>
              <c:showBubbleSize val="0"/>
            </c:dLbl>
            <c:dLbl>
              <c:idx val="1"/>
              <c:tx>
                <c:rich>
                  <a:bodyPr/>
                  <a:lstStyle/>
                  <a:p>
                    <a:r>
                      <a:rPr sz="800">
                        <a:solidFill>
                          <a:srgbClr val="FFFFFF"/>
                        </a:solidFill>
                        <a:latin typeface="Nexa Book"/>
                      </a:rPr>
                      <a:t>45%</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5100091025334166</c:v>
                </c:pt>
                <c:pt idx="1">
                  <c:v>0.4533178041573793</c:v>
                </c:pt>
                <c:pt idx="2">
                  <c:v>0.331235637303855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400896795625738</c:v>
                </c:pt>
                <c:pt idx="1">
                  <c:v>0.06253689772503716</c:v>
                </c:pt>
                <c:pt idx="2">
                  <c:v>0.04921948104334794</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Entremont</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21540094433698</c:v>
                </c:pt>
                <c:pt idx="1">
                  <c:v>0.03024053654262472</c:v>
                </c:pt>
                <c:pt idx="2">
                  <c:v>0.00204804283675545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Soign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399902859713136</c:v>
                </c:pt>
                <c:pt idx="1">
                  <c:v>0.022769533528959322</c:v>
                </c:pt>
                <c:pt idx="2">
                  <c:v>0.04110527644136275</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 Vache Qui Rit</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019180444039476</c:v>
                </c:pt>
                <c:pt idx="1">
                  <c:v>0.021017413391635886</c:v>
                </c:pt>
                <c:pt idx="2">
                  <c:v>0.0374104404260007</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aprice Des Dieux</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8825340545315563</c:v>
                </c:pt>
                <c:pt idx="1">
                  <c:v>0.018514519684612374</c:v>
                </c:pt>
                <c:pt idx="2">
                  <c:v>0.03969024097187555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St More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6896271715993085</c:v>
                </c:pt>
                <c:pt idx="1">
                  <c:v>0.017433558871550184</c:v>
                </c:pt>
                <c:pt idx="2">
                  <c:v>0.0393519624153891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oeur De Li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5666655245783694</c:v>
                </c:pt>
                <c:pt idx="1">
                  <c:v>0.015309686036342345</c:v>
                </c:pt>
                <c:pt idx="2">
                  <c:v>0.031017138793163913</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Galbani</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5837787283978406</c:v>
                </c:pt>
                <c:pt idx="1">
                  <c:v>0.015045914532024389</c:v>
                </c:pt>
                <c:pt idx="2">
                  <c:v>0.0269692874749924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7593883742048947</c:v>
                </c:pt>
                <c:pt idx="1">
                  <c:v>0.27865449043894147</c:v>
                </c:pt>
                <c:pt idx="2">
                  <c:v>0.3229471857319078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021794372822281</c:v>
                </c:pt>
                <c:pt idx="1">
                  <c:v>0.5057575330773668</c:v>
                </c:pt>
                <c:pt idx="2">
                  <c:v>0.379129978345433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487803767841701</c:v>
                </c:pt>
                <c:pt idx="1">
                  <c:v>0.07299438348758394</c:v>
                </c:pt>
                <c:pt idx="2">
                  <c:v>0.06472395260078315</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Entremont</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27404486977791697</c:v>
                </c:pt>
                <c:pt idx="1">
                  <c:v>0.025229695194464403</c:v>
                </c:pt>
                <c:pt idx="2">
                  <c:v>0.0017042601141566578</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Soign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2373712834775752</c:v>
                </c:pt>
                <c:pt idx="1">
                  <c:v>0.021014545881533613</c:v>
                </c:pt>
                <c:pt idx="2">
                  <c:v>0.03997650195583789</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 Vache Qui Rit</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6242375454036335</c:v>
                </c:pt>
                <c:pt idx="1">
                  <c:v>0.027401155037280113</c:v>
                </c:pt>
                <c:pt idx="2">
                  <c:v>0.0481490671460714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aprice Des Dieux</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7767156779883678</c:v>
                </c:pt>
                <c:pt idx="1">
                  <c:v>0.016592678587663157</c:v>
                </c:pt>
                <c:pt idx="2">
                  <c:v>0.0358735565803585</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St More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4135805404234834</c:v>
                </c:pt>
                <c:pt idx="1">
                  <c:v>0.015030327660430125</c:v>
                </c:pt>
                <c:pt idx="2">
                  <c:v>0.035163702000621</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oeur De Li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3445938785985884</c:v>
                </c:pt>
                <c:pt idx="1">
                  <c:v>0.02273947960968536</c:v>
                </c:pt>
                <c:pt idx="2">
                  <c:v>0.04624331827541532</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Galbani</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5634211382157176</c:v>
                </c:pt>
                <c:pt idx="1">
                  <c:v>0.014585711025051087</c:v>
                </c:pt>
                <c:pt idx="2">
                  <c:v>0.0260884772494149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02092452492244</c:v>
                </c:pt>
                <c:pt idx="1">
                  <c:v>0.29028802870134657</c:v>
                </c:pt>
                <c:pt idx="2">
                  <c:v>0.293971787411867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4%</a:t>
                    </a:r>
                  </a:p>
                </c:rich>
              </c:tx>
              <c:showLegendKey val="0"/>
              <c:showVal val="1"/>
              <c:showCatName val="0"/>
              <c:showSerName val="0"/>
              <c:showPercent val="0"/>
              <c:showBubbleSize val="0"/>
            </c:dLbl>
            <c:dLbl>
              <c:idx val="1"/>
              <c:tx>
                <c:rich>
                  <a:bodyPr/>
                  <a:lstStyle/>
                  <a:p>
                    <a:r>
                      <a:rPr sz="800">
                        <a:solidFill>
                          <a:srgbClr val="FFFFFF"/>
                        </a:solidFill>
                        <a:latin typeface="Nexa Book"/>
                      </a:rPr>
                      <a:t>46%</a:t>
                    </a:r>
                  </a:p>
                </c:rich>
              </c:tx>
              <c:showLegendKey val="0"/>
              <c:showVal val="1"/>
              <c:showCatName val="0"/>
              <c:showSerName val="0"/>
              <c:showPercent val="0"/>
              <c:showBubbleSize val="0"/>
            </c:dLbl>
            <c:dLbl>
              <c:idx val="2"/>
              <c:tx>
                <c:rich>
                  <a:bodyPr/>
                  <a:lstStyle/>
                  <a:p>
                    <a:r>
                      <a:rPr sz="800">
                        <a:solidFill>
                          <a:srgbClr val="FFFFFF"/>
                        </a:solidFill>
                        <a:latin typeface="Nexa Book"/>
                      </a:rPr>
                      <a:t>4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430311833611377</c:v>
                </c:pt>
                <c:pt idx="1">
                  <c:v>0.455828225508957</c:v>
                </c:pt>
                <c:pt idx="2">
                  <c:v>0.4490695191299821</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8%</a:t>
                    </a:r>
                  </a:p>
                </c:rich>
              </c:tx>
              <c:showLegendKey val="0"/>
              <c:showVal val="1"/>
              <c:showCatName val="0"/>
              <c:showSerName val="0"/>
              <c:showPercent val="0"/>
              <c:showBubbleSize val="0"/>
            </c:dLbl>
            <c:dLbl>
              <c:idx val="1"/>
              <c:tx>
                <c:rich>
                  <a:bodyPr/>
                  <a:lstStyle/>
                  <a:p>
                    <a:r>
                      <a:rPr sz="800">
                        <a:solidFill>
                          <a:srgbClr val="FFFFFF"/>
                        </a:solidFill>
                        <a:latin typeface="Nexa Book"/>
                      </a:rPr>
                      <a:t>8%</a:t>
                    </a:r>
                  </a:p>
                </c:rich>
              </c:tx>
              <c:showLegendKey val="0"/>
              <c:showVal val="1"/>
              <c:showCatName val="0"/>
              <c:showSerName val="0"/>
              <c:showPercent val="0"/>
              <c:showBubbleSize val="0"/>
            </c:dLbl>
            <c:dLbl>
              <c:idx val="2"/>
              <c:tx>
                <c:rich>
                  <a:bodyPr/>
                  <a:lstStyle/>
                  <a:p>
                    <a:r>
                      <a:rPr sz="800">
                        <a:solidFill>
                          <a:srgbClr val="FFFFFF"/>
                        </a:solidFill>
                        <a:latin typeface="Nexa Book"/>
                      </a:rPr>
                      <a:t>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591794490819553</c:v>
                </c:pt>
                <c:pt idx="1">
                  <c:v>0.07655871835957007</c:v>
                </c:pt>
                <c:pt idx="2">
                  <c:v>0.0783845759898439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Entremont</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650465670320411</c:v>
                </c:pt>
                <c:pt idx="1">
                  <c:v>0.04749367738779361</c:v>
                </c:pt>
                <c:pt idx="2">
                  <c:v>0.04595587236760826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Soign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97687353500284</c:v>
                </c:pt>
                <c:pt idx="1">
                  <c:v>0.02756795929201666</c:v>
                </c:pt>
                <c:pt idx="2">
                  <c:v>0.025164780311178473</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eerdammer</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23983639172634998</c:v>
                </c:pt>
                <c:pt idx="1">
                  <c:v>0.02194873605279755</c:v>
                </c:pt>
                <c:pt idx="2">
                  <c:v>0.021420682803384973</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Galbani</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20073232223574836</c:v>
                </c:pt>
                <c:pt idx="1">
                  <c:v>0.019967397668045058</c:v>
                </c:pt>
                <c:pt idx="2">
                  <c:v>0.026046822062036103</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St More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9629276287039005</c:v>
                </c:pt>
                <c:pt idx="1">
                  <c:v>0.020521578313958937</c:v>
                </c:pt>
                <c:pt idx="2">
                  <c:v>0.024962271032139067</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Caprice Des Dieux</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1338634120971693</c:v>
                </c:pt>
                <c:pt idx="1">
                  <c:v>0.020760929574041846</c:v>
                </c:pt>
                <c:pt idx="2">
                  <c:v>0.0207650063357492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Richesmonts</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2%</a:t>
                    </a:r>
                  </a:p>
                </c:rich>
              </c:tx>
              <c:showLegendKey val="0"/>
              <c:showVal val="1"/>
              <c:showCatName val="0"/>
              <c:showSerName val="0"/>
              <c:showPercent val="0"/>
              <c:showBubbleSize val="0"/>
            </c:dLbl>
            <c:dLbl>
              <c:idx val="1"/>
              <c:tx>
                <c:rich>
                  <a:bodyPr/>
                  <a:lstStyle/>
                  <a:p>
                    <a:r>
                      <a:rPr sz="800">
                        <a:solidFill>
                          <a:srgbClr val="FFFFFF"/>
                        </a:solidFill>
                        <a:latin typeface="Nexa Book"/>
                      </a:rPr>
                      <a:t>2%</a:t>
                    </a:r>
                  </a:p>
                </c:rich>
              </c:tx>
              <c:showLegendKey val="0"/>
              <c:showVal val="1"/>
              <c:showCatName val="0"/>
              <c:showSerName val="0"/>
              <c:showPercent val="0"/>
              <c:showBubbleSize val="0"/>
            </c:dLbl>
            <c:dLbl>
              <c:idx val="2"/>
              <c:tx>
                <c:rich>
                  <a:bodyPr/>
                  <a:lstStyle/>
                  <a:p>
                    <a:r>
                      <a:rPr sz="800">
                        <a:solidFill>
                          <a:srgbClr val="FFFFFF"/>
                        </a:solidFill>
                        <a:latin typeface="Nexa Book"/>
                      </a:rPr>
                      <a:t>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9543452623989307</c:v>
                </c:pt>
                <c:pt idx="1">
                  <c:v>0.019064749141472687</c:v>
                </c:pt>
                <c:pt idx="2">
                  <c:v>0.0142586825562102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878974006858193</c:v>
                </c:pt>
                <c:pt idx="1">
                  <c:v>0.237323391482774</c:v>
                </c:pt>
                <c:pt idx="2">
                  <c:v>0.2386569129121548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20831090068017</c:v>
                </c:pt>
                <c:pt idx="1">
                  <c:v>0.5346190205615226</c:v>
                </c:pt>
                <c:pt idx="2">
                  <c:v>0.527663688300578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958615429262439</c:v>
                </c:pt>
                <c:pt idx="1">
                  <c:v>0.08118594842767966</c:v>
                </c:pt>
                <c:pt idx="2">
                  <c:v>0.08447766751337109</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Entremont</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3543511620697423</c:v>
                </c:pt>
                <c:pt idx="1">
                  <c:v>0.035184486703301</c:v>
                </c:pt>
                <c:pt idx="2">
                  <c:v>0.03521066111312707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Soign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25877042914580737</c:v>
                </c:pt>
                <c:pt idx="1">
                  <c:v>0.024104485113768476</c:v>
                </c:pt>
                <c:pt idx="2">
                  <c:v>0.022760733249539398</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eerdammer</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1966487406800802</c:v>
                </c:pt>
                <c:pt idx="1">
                  <c:v>0.01914670172718696</c:v>
                </c:pt>
                <c:pt idx="2">
                  <c:v>0.01890042019679304</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Galbani</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1822281860988296</c:v>
                </c:pt>
                <c:pt idx="1">
                  <c:v>0.01788546022268783</c:v>
                </c:pt>
                <c:pt idx="2">
                  <c:v>0.022014539475183496</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St More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16338351618410935</c:v>
                </c:pt>
                <c:pt idx="1">
                  <c:v>0.01750812791302516</c:v>
                </c:pt>
                <c:pt idx="2">
                  <c:v>0.02142043695558045</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Caprice Des Dieux</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18231112044699738</c:v>
                </c:pt>
                <c:pt idx="1">
                  <c:v>0.01734652994580169</c:v>
                </c:pt>
                <c:pt idx="2">
                  <c:v>0.017281577429629748</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Richesmonts</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1702370010822013</c:v>
                </c:pt>
                <c:pt idx="1">
                  <c:v>0.01569584790225264</c:v>
                </c:pt>
                <c:pt idx="2">
                  <c:v>0.01161336285404253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0%</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46430704055543</c:v>
                </c:pt>
                <c:pt idx="1">
                  <c:v>0.2962400008659232</c:v>
                </c:pt>
                <c:pt idx="2">
                  <c:v>0.3033685918051557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7%</a:t>
                    </a:r>
                  </a:p>
                </c:rich>
              </c:tx>
              <c:showLegendKey val="0"/>
              <c:showVal val="1"/>
              <c:showCatName val="0"/>
              <c:showSerName val="0"/>
              <c:showPercent val="0"/>
              <c:showBubbleSize val="0"/>
            </c:dLbl>
            <c:dLbl>
              <c:idx val="1"/>
              <c:tx>
                <c:rich>
                  <a:bodyPr/>
                  <a:lstStyle/>
                  <a:p>
                    <a:r>
                      <a:rPr sz="800">
                        <a:solidFill>
                          <a:srgbClr val="FFFFFF"/>
                        </a:solidFill>
                        <a:latin typeface="Nexa Book"/>
                      </a:rPr>
                      <a:t>39%</a:t>
                    </a:r>
                  </a:p>
                </c:rich>
              </c:tx>
              <c:showLegendKey val="0"/>
              <c:showVal val="1"/>
              <c:showCatName val="0"/>
              <c:showSerName val="0"/>
              <c:showPercent val="0"/>
              <c:showBubbleSize val="0"/>
            </c:dLbl>
            <c:dLbl>
              <c:idx val="2"/>
              <c:tx>
                <c:rich>
                  <a:bodyPr/>
                  <a:lstStyle/>
                  <a:p>
                    <a:r>
                      <a:rPr sz="800">
                        <a:solidFill>
                          <a:srgbClr val="FFFFFF"/>
                        </a:solidFill>
                        <a:latin typeface="Nexa Book"/>
                      </a:rPr>
                      <a:t>3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7413551677960666</c:v>
                </c:pt>
                <c:pt idx="1">
                  <c:v>0.3905697083415578</c:v>
                </c:pt>
                <c:pt idx="2">
                  <c:v>0.390207066643473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4127911436739604</c:v>
                </c:pt>
                <c:pt idx="1">
                  <c:v>0.05347618457437322</c:v>
                </c:pt>
                <c:pt idx="2">
                  <c:v>0.0518669749292213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319429603467888</c:v>
                </c:pt>
                <c:pt idx="1">
                  <c:v>0.04852796149027104</c:v>
                </c:pt>
                <c:pt idx="2">
                  <c:v>0.0437493917130050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aprice Des Dieux</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3926657026549125</c:v>
                </c:pt>
                <c:pt idx="1">
                  <c:v>0.04316313037363447</c:v>
                </c:pt>
                <c:pt idx="2">
                  <c:v>0.04139541700137491</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St More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9363503470901146</c:v>
                </c:pt>
                <c:pt idx="1">
                  <c:v>0.040453008282185315</c:v>
                </c:pt>
                <c:pt idx="2">
                  <c:v>0.04354549083741226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oeur De Li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757277081071857</c:v>
                </c:pt>
                <c:pt idx="1">
                  <c:v>0.03573874996463437</c:v>
                </c:pt>
                <c:pt idx="2">
                  <c:v>0.031454474496331604</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Mini Babybe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58647248423597</c:v>
                </c:pt>
                <c:pt idx="1">
                  <c:v>0.03276508666340834</c:v>
                </c:pt>
                <c:pt idx="2">
                  <c:v>0.029472547920250548</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 Vache Qui Rit</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051786473604702</c:v>
                </c:pt>
                <c:pt idx="1">
                  <c:v>0.03244081041684195</c:v>
                </c:pt>
                <c:pt idx="2">
                  <c:v>0.032785351815999154</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Galbani</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8931936814968754</c:v>
                </c:pt>
                <c:pt idx="1">
                  <c:v>0.026625359027170236</c:v>
                </c:pt>
                <c:pt idx="2">
                  <c:v>0.03215469283777598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7.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8.1</a:t>
                    </a:r>
                  </a:p>
                </c:rich>
              </c:tx>
              <c:showLegendKey val="0"/>
              <c:showVal val="1"/>
              <c:showCatName val="0"/>
              <c:showSerName val="0"/>
              <c:showPercent val="0"/>
              <c:showBubbleSize val="0"/>
            </c:dLbl>
            <c:dLbl>
              <c:idx val="2"/>
              <c:tx>
                <c:rich>
                  <a:bodyPr/>
                  <a:lstStyle/>
                  <a:p>
                    <a:r>
                      <a:rPr>
                        <a:solidFill>
                          <a:srgbClr val="FFFFFF"/>
                        </a:solidFill>
                      </a:rPr>
                      <a:t>17.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27.058553</c:v>
                </c:pt>
                <c:pt idx="1">
                  <c:v>28.087048</c:v>
                </c:pt>
                <c:pt idx="2">
                  <c:v>17.01764</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56.6</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63.3</a:t>
                    </a:r>
                  </a:p>
                </c:rich>
              </c:tx>
              <c:showLegendKey val="0"/>
              <c:showVal val="1"/>
              <c:showCatName val="0"/>
              <c:showSerName val="0"/>
              <c:showPercent val="0"/>
              <c:showBubbleSize val="0"/>
            </c:dLbl>
            <c:dLbl>
              <c:idx val="2"/>
              <c:tx>
                <c:rich>
                  <a:bodyPr/>
                  <a:lstStyle/>
                  <a:p>
                    <a:r>
                      <a:rPr>
                        <a:solidFill>
                          <a:srgbClr val="FFFFFF"/>
                        </a:solidFill>
                      </a:rPr>
                      <a:t>37.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6.645968</c:v>
                </c:pt>
                <c:pt idx="1">
                  <c:v>63.271766</c:v>
                </c:pt>
                <c:pt idx="2">
                  <c:v>37.625521</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6</a:t>
                    </a:r>
                  </a:p>
                </c:rich>
              </c:tx>
              <c:showLegendKey val="0"/>
              <c:showVal val="1"/>
              <c:showCatName val="0"/>
              <c:showSerName val="0"/>
              <c:showPercent val="0"/>
              <c:showBubbleSize val="0"/>
            </c:dLbl>
            <c:dLbl>
              <c:idx val="2"/>
              <c:tx>
                <c:rich>
                  <a:bodyPr/>
                  <a:lstStyle/>
                  <a:p>
                    <a:r>
                      <a:rPr>
                        <a:solidFill>
                          <a:srgbClr val="FFFFFF"/>
                        </a:solidFill>
                      </a:rPr>
                      <a:t>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8.655848</c:v>
                </c:pt>
                <c:pt idx="1">
                  <c:v>9.608297</c:v>
                </c:pt>
                <c:pt idx="2">
                  <c:v>6.023754</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Entremont</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3.853949</c:v>
                </c:pt>
                <c:pt idx="1">
                  <c:v>4.164058</c:v>
                </c:pt>
                <c:pt idx="2">
                  <c:v>2.510727</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Soign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9</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814406</c:v>
                </c:pt>
                <c:pt idx="1">
                  <c:v>2.852748</c:v>
                </c:pt>
                <c:pt idx="2">
                  <c:v>1.622974</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eerdammer</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a:t>
                    </a:r>
                  </a:p>
                </c:rich>
              </c:tx>
              <c:showLegendKey val="0"/>
              <c:showVal val="1"/>
              <c:showCatName val="0"/>
              <c:showSerName val="0"/>
              <c:showPercent val="0"/>
              <c:showBubbleSize val="0"/>
            </c:dLbl>
            <c:dLbl>
              <c:idx val="2"/>
              <c:tx>
                <c:rich>
                  <a:bodyPr/>
                  <a:lstStyle/>
                  <a:p>
                    <a:r>
                      <a:rPr>
                        <a:solidFill>
                          <a:srgbClr val="FFFFFF"/>
                        </a:solidFill>
                      </a:rPr>
                      <a:t>1.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138766</c:v>
                </c:pt>
                <c:pt idx="1">
                  <c:v>2.265998</c:v>
                </c:pt>
                <c:pt idx="2">
                  <c:v>1.347711</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Galbani</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981927</c:v>
                </c:pt>
                <c:pt idx="1">
                  <c:v>2.116731</c:v>
                </c:pt>
                <c:pt idx="2">
                  <c:v>1.569766</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St More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776971</c:v>
                </c:pt>
                <c:pt idx="1">
                  <c:v>2.072074</c:v>
                </c:pt>
                <c:pt idx="2">
                  <c:v>1.52740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Caprice Des Dieux</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1</a:t>
                    </a:r>
                  </a:p>
                </c:rich>
              </c:tx>
              <c:showLegendKey val="0"/>
              <c:showVal val="1"/>
              <c:showCatName val="0"/>
              <c:showSerName val="0"/>
              <c:showPercent val="0"/>
              <c:showBubbleSize val="0"/>
            </c:dLbl>
            <c:dLbl>
              <c:idx val="2"/>
              <c:tx>
                <c:rich>
                  <a:bodyPr/>
                  <a:lstStyle/>
                  <a:p>
                    <a:r>
                      <a:rPr>
                        <a:solidFill>
                          <a:srgbClr val="FFFFFF"/>
                        </a:solidFill>
                      </a:rPr>
                      <a:t>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982829</c:v>
                </c:pt>
                <c:pt idx="1">
                  <c:v>2.052949</c:v>
                </c:pt>
                <c:pt idx="2">
                  <c:v>1.232278</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Richesmonts</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9</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85151</c:v>
                </c:pt>
                <c:pt idx="1">
                  <c:v>1.857592</c:v>
                </c:pt>
                <c:pt idx="2">
                  <c:v>0.828101</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704665613599382</c:v>
                </c:pt>
                <c:pt idx="1">
                  <c:v>0.22957706137752182</c:v>
                </c:pt>
                <c:pt idx="2">
                  <c:v>0.2381794952018459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4590126092188603</c:v>
                </c:pt>
                <c:pt idx="1">
                  <c:v>0.46045110992666394</c:v>
                </c:pt>
                <c:pt idx="2">
                  <c:v>0.45680953354140547</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489266880860292</c:v>
                </c:pt>
                <c:pt idx="1">
                  <c:v>0.0642421903877043</c:v>
                </c:pt>
                <c:pt idx="2">
                  <c:v>0.06396737046485398</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829206218360551</c:v>
                </c:pt>
                <c:pt idx="1">
                  <c:v>0.044374554385154974</c:v>
                </c:pt>
                <c:pt idx="2">
                  <c:v>0.04055074400682995</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aprice Des Dieux</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3772941620870555</c:v>
                </c:pt>
                <c:pt idx="1">
                  <c:v>0.036324954746398054</c:v>
                </c:pt>
                <c:pt idx="2">
                  <c:v>0.03509535610388662</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St More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3183832634331854</c:v>
                </c:pt>
                <c:pt idx="1">
                  <c:v>0.034518003199323084</c:v>
                </c:pt>
                <c:pt idx="2">
                  <c:v>0.03876315798071757</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oeur De Li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51312173272964196</c:v>
                </c:pt>
                <c:pt idx="1">
                  <c:v>0.04847895864166674</c:v>
                </c:pt>
                <c:pt idx="2">
                  <c:v>0.04318377521494917</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Mini Babybe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234261614638871</c:v>
                </c:pt>
                <c:pt idx="1">
                  <c:v>0.02280315632232784</c:v>
                </c:pt>
                <c:pt idx="2">
                  <c:v>0.01936845625298178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 Vache Qui Rit</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21031238505609</c:v>
                </c:pt>
                <c:pt idx="1">
                  <c:v>0.03496439366226931</c:v>
                </c:pt>
                <c:pt idx="2">
                  <c:v>0.035751887964340916</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Galbani</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6112644519462082</c:v>
                </c:pt>
                <c:pt idx="1">
                  <c:v>0.024265617350969982</c:v>
                </c:pt>
                <c:pt idx="2">
                  <c:v>0.02833022326818861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3%</a:t>
                    </a:r>
                  </a:p>
                </c:rich>
              </c:tx>
              <c:showLegendKey val="0"/>
              <c:showVal val="1"/>
              <c:showCatName val="0"/>
              <c:showSerName val="0"/>
              <c:showPercent val="0"/>
              <c:showBubbleSize val="0"/>
            </c:dLbl>
            <c:dLbl>
              <c:idx val="1"/>
              <c:tx>
                <c:rich>
                  <a:bodyPr/>
                  <a:lstStyle/>
                  <a:p>
                    <a:r>
                      <a:rPr sz="800">
                        <a:solidFill>
                          <a:srgbClr val="FFFFFF"/>
                        </a:solidFill>
                        <a:latin typeface="Nexa Book"/>
                      </a:rPr>
                      <a:t>32%</a:t>
                    </a:r>
                  </a:p>
                </c:rich>
              </c:tx>
              <c:showLegendKey val="0"/>
              <c:showVal val="1"/>
              <c:showCatName val="0"/>
              <c:showSerName val="0"/>
              <c:showPercent val="0"/>
              <c:showBubbleSize val="0"/>
            </c:dLbl>
            <c:dLbl>
              <c:idx val="2"/>
              <c:tx>
                <c:rich>
                  <a:bodyPr/>
                  <a:lstStyle/>
                  <a:p>
                    <a:r>
                      <a:rPr sz="800">
                        <a:solidFill>
                          <a:srgbClr val="FFFFFF"/>
                        </a:solidFill>
                        <a:latin typeface="Nexa Book"/>
                      </a:rPr>
                      <a:t>3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42195844447852</c:v>
                </c:pt>
                <c:pt idx="1">
                  <c:v>0.3249250540219525</c:v>
                </c:pt>
                <c:pt idx="2">
                  <c:v>0.345089438276054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4%</a:t>
                    </a:r>
                  </a:p>
                </c:rich>
              </c:tx>
              <c:showLegendKey val="0"/>
              <c:showVal val="1"/>
              <c:showCatName val="0"/>
              <c:showSerName val="0"/>
              <c:showPercent val="0"/>
              <c:showBubbleSize val="0"/>
            </c:dLbl>
            <c:dLbl>
              <c:idx val="1"/>
              <c:tx>
                <c:rich>
                  <a:bodyPr/>
                  <a:lstStyle/>
                  <a:p>
                    <a:r>
                      <a:rPr sz="800">
                        <a:solidFill>
                          <a:srgbClr val="FFFFFF"/>
                        </a:solidFill>
                        <a:latin typeface="Nexa Book"/>
                      </a:rPr>
                      <a:t>35%</a:t>
                    </a:r>
                  </a:p>
                </c:rich>
              </c:tx>
              <c:showLegendKey val="0"/>
              <c:showVal val="1"/>
              <c:showCatName val="0"/>
              <c:showSerName val="0"/>
              <c:showPercent val="0"/>
              <c:showBubbleSize val="0"/>
            </c:dLbl>
            <c:dLbl>
              <c:idx val="2"/>
              <c:tx>
                <c:rich>
                  <a:bodyPr/>
                  <a:lstStyle/>
                  <a:p>
                    <a:r>
                      <a:rPr sz="800">
                        <a:solidFill>
                          <a:srgbClr val="FFFFFF"/>
                        </a:solidFill>
                        <a:latin typeface="Nexa Book"/>
                      </a:rPr>
                      <a:t>3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358811699551541</c:v>
                </c:pt>
                <c:pt idx="1">
                  <c:v>0.34772876157735344</c:v>
                </c:pt>
                <c:pt idx="2">
                  <c:v>0.3387520699443426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6%</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559451972775453</c:v>
                </c:pt>
                <c:pt idx="1">
                  <c:v>0.055289511450134124</c:v>
                </c:pt>
                <c:pt idx="2">
                  <c:v>0.05146319947227438</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065581779051832</c:v>
                </c:pt>
                <c:pt idx="1">
                  <c:v>0.04720413549367282</c:v>
                </c:pt>
                <c:pt idx="2">
                  <c:v>0.0446282169135133</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aprice Des Dieux</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436028916157469</c:v>
                </c:pt>
                <c:pt idx="1">
                  <c:v>0.04331621030332125</c:v>
                </c:pt>
                <c:pt idx="2">
                  <c:v>0.04322121395743274</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La Vache Qui Rit</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11271254097667</c:v>
                </c:pt>
                <c:pt idx="1">
                  <c:v>0.04331226956947243</c:v>
                </c:pt>
                <c:pt idx="2">
                  <c:v>0.040607597673444205</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St More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7908344418415126</c:v>
                </c:pt>
                <c:pt idx="1">
                  <c:v>0.03921126649875092</c:v>
                </c:pt>
                <c:pt idx="2">
                  <c:v>0.04134694081076575</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Coeur De Li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67524986602999</c:v>
                </c:pt>
                <c:pt idx="1">
                  <c:v>0.03541802626692616</c:v>
                </c:pt>
                <c:pt idx="2">
                  <c:v>0.03377210231400838</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Mini Babybe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388244673137492</c:v>
                </c:pt>
                <c:pt idx="1">
                  <c:v>0.03256419342443782</c:v>
                </c:pt>
                <c:pt idx="2">
                  <c:v>0.02996790271800918</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Kiri</c:v>
                </c:pt>
              </c:strCache>
            </c:strRef>
          </c:tx>
          <c:spPr>
            <a:solidFill>
              <a:srgbClr val="B2DFDC"/>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934477494483563</c:v>
                </c:pt>
                <c:pt idx="1">
                  <c:v>0.031030571393978523</c:v>
                </c:pt>
                <c:pt idx="2">
                  <c:v>0.03115131792015523</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6913587308815</c:v>
                </c:pt>
                <c:pt idx="1">
                  <c:v>0.2621366772948409</c:v>
                </c:pt>
                <c:pt idx="2">
                  <c:v>0.2812536465487447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8101810632082184</c:v>
                </c:pt>
                <c:pt idx="1">
                  <c:v>0.3923065094733251</c:v>
                </c:pt>
                <c:pt idx="2">
                  <c:v>0.3820477872577951</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209144821708365</c:v>
                </c:pt>
                <c:pt idx="1">
                  <c:v>0.07146644244403745</c:v>
                </c:pt>
                <c:pt idx="2">
                  <c:v>0.0667321336845588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4785374487464198</c:v>
                </c:pt>
                <c:pt idx="1">
                  <c:v>0.04434719044295574</c:v>
                </c:pt>
                <c:pt idx="2">
                  <c:v>0.04253064924638954</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aprice Des Dieux</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026558068237941</c:v>
                </c:pt>
                <c:pt idx="1">
                  <c:v>0.03737702233535911</c:v>
                </c:pt>
                <c:pt idx="2">
                  <c:v>0.0382232731225753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La Vache Qui Rit</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5057213332781462</c:v>
                </c:pt>
                <c:pt idx="1">
                  <c:v>0.05377783958204125</c:v>
                </c:pt>
                <c:pt idx="2">
                  <c:v>0.051121827574668245</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St More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3119620576854847</c:v>
                </c:pt>
                <c:pt idx="1">
                  <c:v>0.03314118684697318</c:v>
                </c:pt>
                <c:pt idx="2">
                  <c:v>0.0367896087236267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Coeur De Li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52888824423817336</c:v>
                </c:pt>
                <c:pt idx="1">
                  <c:v>0.05078308228387535</c:v>
                </c:pt>
                <c:pt idx="2">
                  <c:v>0.04926809685174464</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Mini Babybe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26426429478388625</c:v>
                </c:pt>
                <c:pt idx="1">
                  <c:v>0.02535820158769485</c:v>
                </c:pt>
                <c:pt idx="2">
                  <c:v>0.021607897386349637</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Kiri</c:v>
                </c:pt>
              </c:strCache>
            </c:strRef>
          </c:tx>
          <c:spPr>
            <a:solidFill>
              <a:srgbClr val="B2DFDC"/>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8551653818354065</c:v>
                </c:pt>
                <c:pt idx="1">
                  <c:v>0.029305847708897062</c:v>
                </c:pt>
                <c:pt idx="2">
                  <c:v>0.0304250796035472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9%</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97689370414926</c:v>
                </c:pt>
                <c:pt idx="1">
                  <c:v>0.28206944038270215</c:v>
                </c:pt>
                <c:pt idx="2">
                  <c:v>0.29216018836704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32%</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227043869336688</c:v>
                </c:pt>
                <c:pt idx="1">
                  <c:v>0.33309428561066473</c:v>
                </c:pt>
                <c:pt idx="2">
                  <c:v>0.3309650525260724</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7%</a:t>
                    </a:r>
                  </a:p>
                </c:rich>
              </c:tx>
              <c:showLegendKey val="0"/>
              <c:showVal val="1"/>
              <c:showCatName val="0"/>
              <c:showSerName val="0"/>
              <c:showPercent val="0"/>
              <c:showBubbleSize val="0"/>
            </c:dLbl>
            <c:dLbl>
              <c:idx val="2"/>
              <c:tx>
                <c:rich>
                  <a:bodyPr/>
                  <a:lstStyle/>
                  <a:p>
                    <a:r>
                      <a:rPr sz="800">
                        <a:solidFill>
                          <a:srgbClr val="FFFFFF"/>
                        </a:solidFill>
                        <a:latin typeface="Nexa Book"/>
                      </a:rPr>
                      <a:t>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6585248062012664</c:v>
                </c:pt>
                <c:pt idx="1">
                  <c:v>0.07043935861480122</c:v>
                </c:pt>
                <c:pt idx="2">
                  <c:v>0.06712681320694941</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tx>
                <c:rich>
                  <a:bodyPr/>
                  <a:lstStyle/>
                  <a:p>
                    <a:r>
                      <a:rPr sz="800">
                        <a:solidFill>
                          <a:srgbClr val="FFFFFF"/>
                        </a:solidFill>
                        <a:latin typeface="Nexa Book"/>
                      </a:rPr>
                      <a:t>7%</a:t>
                    </a:r>
                  </a:p>
                </c:rich>
              </c:tx>
              <c:showLegendKey val="0"/>
              <c:showVal val="1"/>
              <c:showCatName val="0"/>
              <c:showSerName val="0"/>
              <c:showPercent val="0"/>
              <c:showBubbleSize val="0"/>
            </c:dLbl>
            <c:dLbl>
              <c:idx val="1"/>
              <c:tx>
                <c:rich>
                  <a:bodyPr/>
                  <a:lstStyle/>
                  <a:p>
                    <a:r>
                      <a:rPr sz="800">
                        <a:solidFill>
                          <a:srgbClr val="FFFFFF"/>
                        </a:solidFill>
                        <a:latin typeface="Nexa Book"/>
                      </a:rPr>
                      <a:t>6%</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6704152605130397</c:v>
                </c:pt>
                <c:pt idx="1">
                  <c:v>0.06210825931206432</c:v>
                </c:pt>
                <c:pt idx="2">
                  <c:v>0.05447397519844725</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Caprice Des Dieux</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5290601919800918</c:v>
                </c:pt>
                <c:pt idx="1">
                  <c:v>0.05163588558443676</c:v>
                </c:pt>
                <c:pt idx="2">
                  <c:v>0.049057310004689936</c:v>
                </c:pt>
              </c:numCache>
            </c:numRef>
          </c:val>
          <c:extLst>
            <c:ext xmlns:c16="http://schemas.microsoft.com/office/drawing/2014/chart" uri="{C3380CC4-5D6E-409C-BE32-E72D297353CC}">
              <c16:uniqueId val="{00000000-C587-4D25-9FAB-90188F724A36}"/>
            </c:ext>
          </c:extLst>
        </c:ser>
        <c:ser>
          <c:idx val="5"/>
          <c:order val="5"/>
          <c:tx>
            <c:strRef>
              <c:f>Sheet1!$G$1</c:f>
              <c:strCache>
                <c:ptCount val="1"/>
                <c:pt idx="0">
                  <c:v>St Moret</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5%</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4385082641031488</c:v>
                </c:pt>
                <c:pt idx="1">
                  <c:v>0.046673294299037174</c:v>
                </c:pt>
                <c:pt idx="2">
                  <c:v>0.054243613141488484</c:v>
                </c:pt>
              </c:numCache>
            </c:numRef>
          </c:val>
          <c:extLst>
            <c:ext xmlns:c16="http://schemas.microsoft.com/office/drawing/2014/chart" uri="{C3380CC4-5D6E-409C-BE32-E72D297353CC}">
              <c16:uniqueId val="{00000000-C587-4D25-9FAB-90188F724A36}"/>
            </c:ext>
          </c:extLst>
        </c:ser>
        <c:ser>
          <c:idx val="6"/>
          <c:order val="6"/>
          <c:tx>
            <c:strRef>
              <c:f>Sheet1!$H$1</c:f>
              <c:strCache>
                <c:ptCount val="1"/>
                <c:pt idx="0">
                  <c:v>Coeur De Lion</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5%</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4894812814084385</c:v>
                </c:pt>
                <c:pt idx="1">
                  <c:v>0.0441252102691077</c:v>
                </c:pt>
                <c:pt idx="2">
                  <c:v>0.03525471316022389</c:v>
                </c:pt>
              </c:numCache>
            </c:numRef>
          </c:val>
          <c:extLst>
            <c:ext xmlns:c16="http://schemas.microsoft.com/office/drawing/2014/chart" uri="{C3380CC4-5D6E-409C-BE32-E72D297353CC}">
              <c16:uniqueId val="{00000000-C587-4D25-9FAB-90188F724A36}"/>
            </c:ext>
          </c:extLst>
        </c:ser>
        <c:ser>
          <c:idx val="7"/>
          <c:order val="7"/>
          <c:tx>
            <c:strRef>
              <c:f>Sheet1!$I$1</c:f>
              <c:strCache>
                <c:ptCount val="1"/>
                <c:pt idx="0">
                  <c:v>Galbani</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3%</a:t>
                    </a:r>
                  </a:p>
                </c:rich>
              </c:tx>
              <c:showLegendKey val="0"/>
              <c:showVal val="1"/>
              <c:showCatName val="0"/>
              <c:showSerName val="0"/>
              <c:showPercent val="0"/>
              <c:showBubbleSize val="0"/>
            </c:dLbl>
            <c:dLbl>
              <c:idx val="2"/>
              <c:tx>
                <c:rich>
                  <a:bodyPr/>
                  <a:lstStyle/>
                  <a:p>
                    <a:r>
                      <a:rPr sz="800">
                        <a:solidFill>
                          <a:srgbClr val="FFFFFF"/>
                        </a:solidFill>
                        <a:latin typeface="Nexa Book"/>
                      </a:rPr>
                      <a:t>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6726025610680585</c:v>
                </c:pt>
                <c:pt idx="1">
                  <c:v>0.034855983677701693</c:v>
                </c:pt>
                <c:pt idx="2">
                  <c:v>0.04537642260587663</c:v>
                </c:pt>
              </c:numCache>
            </c:numRef>
          </c:val>
          <c:extLst>
            <c:ext xmlns:c16="http://schemas.microsoft.com/office/drawing/2014/chart" uri="{C3380CC4-5D6E-409C-BE32-E72D297353CC}">
              <c16:uniqueId val="{00000000-C587-4D25-9FAB-90188F724A36}"/>
            </c:ext>
          </c:extLst>
        </c:ser>
        <c:ser>
          <c:idx val="8"/>
          <c:order val="8"/>
          <c:tx>
            <c:strRef>
              <c:f>Sheet1!$J$1</c:f>
              <c:strCache>
                <c:ptCount val="1"/>
                <c:pt idx="0">
                  <c:v>La Vache Qui Rit</c:v>
                </c:pt>
              </c:strCache>
            </c:strRef>
          </c:tx>
          <c:spPr>
            <a:solidFill>
              <a:srgbClr val="00504B"/>
            </a:solidFill>
            <a:ln>
              <a:solidFill>
                <a:schemeClr val="bg1"/>
              </a:solidFill>
            </a:ln>
            <a:effectLst/>
          </c:spPr>
          <c:invertIfNegative val="0"/>
          <c:dLbls>
            <c:dLbl>
              <c:idx val="0"/>
              <c:tx>
                <c:rich>
                  <a:bodyPr/>
                  <a:lstStyle/>
                  <a:p>
                    <a:r>
                      <a:rPr sz="800">
                        <a:solidFill>
                          <a:srgbClr val="FFFFFF"/>
                        </a:solidFill>
                        <a:latin typeface="Nexa Book"/>
                      </a:rPr>
                      <a:t>3%</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93571807860892</c:v>
                </c:pt>
                <c:pt idx="1">
                  <c:v>0.03773908114507593</c:v>
                </c:pt>
                <c:pt idx="2">
                  <c:v>0.03893957017047366</c:v>
                </c:pt>
              </c:numCache>
            </c:numRef>
          </c:val>
          <c:extLst>
            <c:ext xmlns:c16="http://schemas.microsoft.com/office/drawing/2014/chart" uri="{C3380CC4-5D6E-409C-BE32-E72D297353CC}">
              <c16:uniqueId val="{00000000-C587-4D25-9FAB-90188F724A36}"/>
            </c:ext>
          </c:extLst>
        </c:ser>
        <c:ser>
          <c:idx val="9"/>
          <c:order val="9"/>
          <c:tx>
            <c:strRef>
              <c:f>Sheet1!$K$1</c:f>
              <c:strCache>
                <c:ptCount val="1"/>
                <c:pt idx="0">
                  <c:v>Mini Babybe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4%</a:t>
                    </a:r>
                  </a:p>
                </c:rich>
              </c:tx>
              <c:showLegendKey val="0"/>
              <c:showVal val="1"/>
              <c:showCatName val="0"/>
              <c:showSerName val="0"/>
              <c:showPercent val="0"/>
              <c:showBubbleSize val="0"/>
            </c:dLbl>
            <c:dLbl>
              <c:idx val="1"/>
              <c:tx>
                <c:rich>
                  <a:bodyPr/>
                  <a:lstStyle/>
                  <a:p>
                    <a:r>
                      <a:rPr sz="800">
                        <a:solidFill>
                          <a:srgbClr val="FFFFFF"/>
                        </a:solidFill>
                        <a:latin typeface="Nexa Book"/>
                      </a:rPr>
                      <a:t>4%</a:t>
                    </a:r>
                  </a:p>
                </c:rich>
              </c:tx>
              <c:showLegendKey val="0"/>
              <c:showVal val="1"/>
              <c:showCatName val="0"/>
              <c:showSerName val="0"/>
              <c:showPercent val="0"/>
              <c:showBubbleSize val="0"/>
            </c:dLbl>
            <c:dLbl>
              <c:idx val="2"/>
              <c:tx>
                <c:rich>
                  <a:bodyPr/>
                  <a:lstStyle/>
                  <a:p>
                    <a:r>
                      <a:rPr sz="800">
                        <a:solidFill>
                          <a:srgbClr val="FFFFFF"/>
                        </a:solidFill>
                        <a:latin typeface="Nexa Book"/>
                      </a:rPr>
                      <a:t>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37265951914950524</c:v>
                </c:pt>
                <c:pt idx="1">
                  <c:v>0.03725920110440829</c:v>
                </c:pt>
                <c:pt idx="2">
                  <c:v>0.03240234161873336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3400111482233402</c:v>
                </c:pt>
                <c:pt idx="1">
                  <c:v>0.22561471036199382</c:v>
                </c:pt>
                <c:pt idx="2">
                  <c:v>0.238225904837725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926223931319958</c:v>
                </c:pt>
                <c:pt idx="1">
                  <c:v>0.3997138172150152</c:v>
                </c:pt>
                <c:pt idx="2">
                  <c:v>0.3960194417329764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07606338497943914</c:v>
                </c:pt>
                <c:pt idx="1">
                  <c:v>0.08181630789718072</c:v>
                </c:pt>
                <c:pt idx="2">
                  <c:v>0.080735439427816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05915819410484663</c:v>
                </c:pt>
                <c:pt idx="1">
                  <c:v>0.055694212937211926</c:v>
                </c:pt>
                <c:pt idx="2">
                  <c:v>0.05081104700830297</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Caprice Des Dieux</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04394811033757786</c:v>
                </c:pt>
                <c:pt idx="1">
                  <c:v>0.04234734984299428</c:v>
                </c:pt>
                <c:pt idx="2">
                  <c:v>0.040559114228162864</c:v>
                </c:pt>
              </c:numCache>
            </c:numRef>
          </c:val>
          <c:extLst>
            <c:ext xmlns:c16="http://schemas.microsoft.com/office/drawing/2014/chart" uri="{C3380CC4-5D6E-409C-BE32-E72D297353CC}">
              <c16:uniqueId val="{00000000-E8ED-4355-AB33-141417161D1C}"/>
            </c:ext>
          </c:extLst>
        </c:ser>
        <c:ser>
          <c:idx val="5"/>
          <c:order val="5"/>
          <c:tx>
            <c:strRef>
              <c:f>Sheet1!$G$1</c:f>
              <c:strCache>
                <c:ptCount val="1"/>
                <c:pt idx="0">
                  <c:v>St Moret</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0.03719727131175677</c:v>
                </c:pt>
                <c:pt idx="1">
                  <c:v>0.04080979137956097</c:v>
                </c:pt>
                <c:pt idx="2">
                  <c:v>0.04827667424861032</c:v>
                </c:pt>
              </c:numCache>
            </c:numRef>
          </c:val>
          <c:extLst>
            <c:ext xmlns:c16="http://schemas.microsoft.com/office/drawing/2014/chart" uri="{C3380CC4-5D6E-409C-BE32-E72D297353CC}">
              <c16:uniqueId val="{00000000-E8ED-4355-AB33-141417161D1C}"/>
            </c:ext>
          </c:extLst>
        </c:ser>
        <c:ser>
          <c:idx val="6"/>
          <c:order val="6"/>
          <c:tx>
            <c:strRef>
              <c:f>Sheet1!$H$1</c:f>
              <c:strCache>
                <c:ptCount val="1"/>
                <c:pt idx="0">
                  <c:v>Coeur De Lion</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0.06420062741504112</c:v>
                </c:pt>
                <c:pt idx="1">
                  <c:v>0.05723088441512185</c:v>
                </c:pt>
                <c:pt idx="2">
                  <c:v>0.04569342429998074</c:v>
                </c:pt>
              </c:numCache>
            </c:numRef>
          </c:val>
          <c:extLst>
            <c:ext xmlns:c16="http://schemas.microsoft.com/office/drawing/2014/chart" uri="{C3380CC4-5D6E-409C-BE32-E72D297353CC}">
              <c16:uniqueId val="{00000000-E8ED-4355-AB33-141417161D1C}"/>
            </c:ext>
          </c:extLst>
        </c:ser>
        <c:ser>
          <c:idx val="7"/>
          <c:order val="7"/>
          <c:tx>
            <c:strRef>
              <c:f>Sheet1!$I$1</c:f>
              <c:strCache>
                <c:ptCount val="1"/>
                <c:pt idx="0">
                  <c:v>Galbani</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0.03312893889539942</c:v>
                </c:pt>
                <c:pt idx="1">
                  <c:v>0.03208789770754879</c:v>
                </c:pt>
                <c:pt idx="2">
                  <c:v>0.03885591699185357</c:v>
                </c:pt>
              </c:numCache>
            </c:numRef>
          </c:val>
          <c:extLst>
            <c:ext xmlns:c16="http://schemas.microsoft.com/office/drawing/2014/chart" uri="{C3380CC4-5D6E-409C-BE32-E72D297353CC}">
              <c16:uniqueId val="{00000000-E8ED-4355-AB33-141417161D1C}"/>
            </c:ext>
          </c:extLst>
        </c:ser>
        <c:ser>
          <c:idx val="8"/>
          <c:order val="8"/>
          <c:tx>
            <c:strRef>
              <c:f>Sheet1!$J$1</c:f>
              <c:strCache>
                <c:ptCount val="1"/>
                <c:pt idx="0">
                  <c:v>La Vache Qui Rit</c:v>
                </c:pt>
              </c:strCache>
            </c:strRef>
          </c:tx>
          <c:spPr>
            <a:solidFill>
              <a:srgbClr val="00504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0.03470504562275975</c:v>
                </c:pt>
                <c:pt idx="1">
                  <c:v>0.039664796206721836</c:v>
                </c:pt>
                <c:pt idx="2">
                  <c:v>0.03974186129799184</c:v>
                </c:pt>
              </c:numCache>
            </c:numRef>
          </c:val>
          <c:extLst>
            <c:ext xmlns:c16="http://schemas.microsoft.com/office/drawing/2014/chart" uri="{C3380CC4-5D6E-409C-BE32-E72D297353CC}">
              <c16:uniqueId val="{00000000-E8ED-4355-AB33-141417161D1C}"/>
            </c:ext>
          </c:extLst>
        </c:ser>
        <c:ser>
          <c:idx val="9"/>
          <c:order val="9"/>
          <c:tx>
            <c:strRef>
              <c:f>Sheet1!$K$1</c:f>
              <c:strCache>
                <c:ptCount val="1"/>
                <c:pt idx="0">
                  <c:v>Mini Babybe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0.02497491937884949</c:v>
                </c:pt>
                <c:pt idx="1">
                  <c:v>0.02502023203665057</c:v>
                </c:pt>
                <c:pt idx="2">
                  <c:v>0.021081175926579022</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39%</a:t>
                    </a:r>
                  </a:p>
                </c:rich>
              </c:tx>
              <c:showLegendKey val="0"/>
              <c:showVal val="1"/>
              <c:showCatName val="0"/>
              <c:showSerName val="0"/>
              <c:showPercent val="0"/>
              <c:showBubbleSize val="0"/>
            </c:dLbl>
            <c:dLbl>
              <c:idx val="2"/>
              <c:tx>
                <c:rich>
                  <a:bodyPr/>
                  <a:lstStyle/>
                  <a:p>
                    <a:r>
                      <a:rPr sz="800">
                        <a:solidFill>
                          <a:srgbClr val="FFFFFF"/>
                        </a:solidFill>
                        <a:latin typeface="Nexa Book"/>
                      </a:rPr>
                      <a:t>4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018114291753175</c:v>
                </c:pt>
                <c:pt idx="1">
                  <c:v>0.38978636255669286</c:v>
                </c:pt>
                <c:pt idx="2">
                  <c:v>0.4099612406644554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Apericub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5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81885708246826</c:v>
                </c:pt>
                <c:pt idx="1">
                  <c:v>0.6102136374433071</c:v>
                </c:pt>
                <c:pt idx="2">
                  <c:v>0.590038759335544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77892917845919</c:v>
                </c:pt>
                <c:pt idx="1">
                  <c:v>0.29595684190360066</c:v>
                </c:pt>
                <c:pt idx="2">
                  <c:v>0.32452450522103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Apericub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922107082154081</c:v>
                </c:pt>
                <c:pt idx="1">
                  <c:v>0.7040431580963993</c:v>
                </c:pt>
                <c:pt idx="2">
                  <c:v>0.6754754947789611</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0%</a:t>
                    </a:r>
                  </a:p>
                </c:rich>
              </c:tx>
              <c:showLegendKey val="0"/>
              <c:showVal val="1"/>
              <c:showCatName val="0"/>
              <c:showSerName val="0"/>
              <c:showPercent val="0"/>
              <c:showBubbleSize val="0"/>
            </c:dLbl>
            <c:dLbl>
              <c:idx val="1"/>
              <c:tx>
                <c:rich>
                  <a:bodyPr/>
                  <a:lstStyle/>
                  <a:p>
                    <a:r>
                      <a:rPr sz="800">
                        <a:solidFill>
                          <a:srgbClr val="FFFFFF"/>
                        </a:solidFill>
                        <a:latin typeface="Nexa Book"/>
                      </a:rPr>
                      <a:t>39%</a:t>
                    </a:r>
                  </a:p>
                </c:rich>
              </c:tx>
              <c:showLegendKey val="0"/>
              <c:showVal val="1"/>
              <c:showCatName val="0"/>
              <c:showSerName val="0"/>
              <c:showPercent val="0"/>
              <c:showBubbleSize val="0"/>
            </c:dLbl>
            <c:dLbl>
              <c:idx val="2"/>
              <c:tx>
                <c:rich>
                  <a:bodyPr/>
                  <a:lstStyle/>
                  <a:p>
                    <a:r>
                      <a:rPr sz="800">
                        <a:solidFill>
                          <a:srgbClr val="FFFFFF"/>
                        </a:solidFill>
                        <a:latin typeface="Nexa Book"/>
                      </a:rPr>
                      <a:t>4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966636526332938</c:v>
                </c:pt>
                <c:pt idx="1">
                  <c:v>0.38871450958229026</c:v>
                </c:pt>
                <c:pt idx="2">
                  <c:v>0.399094063311670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Apericub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60%</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033363473667063</c:v>
                </c:pt>
                <c:pt idx="1">
                  <c:v>0.6112854904177099</c:v>
                </c:pt>
                <c:pt idx="2">
                  <c:v>0.6009059366883294</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259390778288553</c:v>
                </c:pt>
                <c:pt idx="1">
                  <c:v>0.2984517221297194</c:v>
                </c:pt>
                <c:pt idx="2">
                  <c:v>0.312102131159670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Apericub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974060922171145</c:v>
                </c:pt>
                <c:pt idx="1">
                  <c:v>0.7015482778702806</c:v>
                </c:pt>
                <c:pt idx="2">
                  <c:v>0.6878978688403298</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1%</a:t>
                    </a:r>
                  </a:p>
                </c:rich>
              </c:tx>
              <c:showLegendKey val="0"/>
              <c:showVal val="1"/>
              <c:showCatName val="0"/>
              <c:showSerName val="0"/>
              <c:showPercent val="0"/>
              <c:showBubbleSize val="0"/>
            </c:dLbl>
            <c:dLbl>
              <c:idx val="1"/>
              <c:tx>
                <c:rich>
                  <a:bodyPr/>
                  <a:lstStyle/>
                  <a:p>
                    <a:r>
                      <a:rPr sz="800">
                        <a:solidFill>
                          <a:srgbClr val="FFFFFF"/>
                        </a:solidFill>
                        <a:latin typeface="Nexa Book"/>
                      </a:rPr>
                      <a:t>37%</a:t>
                    </a:r>
                  </a:p>
                </c:rich>
              </c:tx>
              <c:showLegendKey val="0"/>
              <c:showVal val="1"/>
              <c:showCatName val="0"/>
              <c:showSerName val="0"/>
              <c:showPercent val="0"/>
              <c:showBubbleSize val="0"/>
            </c:dLbl>
            <c:dLbl>
              <c:idx val="2"/>
              <c:tx>
                <c:rich>
                  <a:bodyPr/>
                  <a:lstStyle/>
                  <a:p>
                    <a:r>
                      <a:rPr sz="800">
                        <a:solidFill>
                          <a:srgbClr val="FFFFFF"/>
                        </a:solidFill>
                        <a:latin typeface="Nexa Book"/>
                      </a:rPr>
                      <a:t>4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081525114191769</c:v>
                </c:pt>
                <c:pt idx="1">
                  <c:v>0.37373467229185814</c:v>
                </c:pt>
                <c:pt idx="2">
                  <c:v>0.417527312771416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Apericube</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9%</a:t>
                    </a:r>
                  </a:p>
                </c:rich>
              </c:tx>
              <c:showLegendKey val="0"/>
              <c:showVal val="1"/>
              <c:showCatName val="0"/>
              <c:showSerName val="0"/>
              <c:showPercent val="0"/>
              <c:showBubbleSize val="0"/>
            </c:dLbl>
            <c:dLbl>
              <c:idx val="1"/>
              <c:tx>
                <c:rich>
                  <a:bodyPr/>
                  <a:lstStyle/>
                  <a:p>
                    <a:r>
                      <a:rPr sz="800">
                        <a:solidFill>
                          <a:srgbClr val="FFFFFF"/>
                        </a:solidFill>
                        <a:latin typeface="Nexa Book"/>
                      </a:rPr>
                      <a:t>63%</a:t>
                    </a:r>
                  </a:p>
                </c:rich>
              </c:tx>
              <c:showLegendKey val="0"/>
              <c:showVal val="1"/>
              <c:showCatName val="0"/>
              <c:showSerName val="0"/>
              <c:showPercent val="0"/>
              <c:showBubbleSize val="0"/>
            </c:dLbl>
            <c:dLbl>
              <c:idx val="2"/>
              <c:tx>
                <c:rich>
                  <a:bodyPr/>
                  <a:lstStyle/>
                  <a:p>
                    <a:r>
                      <a:rPr sz="800">
                        <a:solidFill>
                          <a:srgbClr val="FFFFFF"/>
                        </a:solidFill>
                        <a:latin typeface="Nexa Book"/>
                      </a:rPr>
                      <a:t>5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91847488580823</c:v>
                </c:pt>
                <c:pt idx="1">
                  <c:v>0.6262653277081419</c:v>
                </c:pt>
                <c:pt idx="2">
                  <c:v>0.582472687228583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367.6</a:t>
                    </a:r>
                  </a:p>
                </c:rich>
              </c:tx>
              <c:showLegendKey val="0"/>
              <c:showVal val="1"/>
              <c:showCatName val="0"/>
              <c:showSerName val="0"/>
              <c:showPercent val="0"/>
              <c:showBubbleSize val="0"/>
            </c:dLbl>
            <c:dLbl>
              <c:idx val="1"/>
              <c:tx>
                <c:rich>
                  <a:bodyPr/>
                  <a:lstStyle/>
                  <a:p>
                    <a:r>
                      <a:rPr>
                        <a:solidFill>
                          <a:srgbClr val="FFFFFF"/>
                        </a:solidFill>
                      </a:rPr>
                      <a:t>388.1</a:t>
                    </a:r>
                  </a:p>
                </c:rich>
              </c:tx>
              <c:showLegendKey val="0"/>
              <c:showVal val="1"/>
              <c:showCatName val="0"/>
              <c:showSerName val="0"/>
              <c:showPercent val="0"/>
              <c:showBubbleSize val="0"/>
            </c:dLbl>
            <c:dLbl>
              <c:idx val="2"/>
              <c:tx>
                <c:rich>
                  <a:bodyPr/>
                  <a:lstStyle/>
                  <a:p>
                    <a:r>
                      <a:rPr>
                        <a:solidFill>
                          <a:srgbClr val="FFFFFF"/>
                        </a:solidFill>
                      </a:rPr>
                      <a:t>239.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367.612953</c:v>
                </c:pt>
                <c:pt idx="1">
                  <c:v>388.117963</c:v>
                </c:pt>
                <c:pt idx="2">
                  <c:v>239.68998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a:solidFill>
                          <a:srgbClr val="FFFFFF"/>
                        </a:solidFill>
                      </a:rPr>
                      <a:t>542.5</a:t>
                    </a:r>
                  </a:p>
                </c:rich>
              </c:tx>
              <c:showLegendKey val="0"/>
              <c:showVal val="1"/>
              <c:showCatName val="0"/>
              <c:showSerName val="0"/>
              <c:showPercent val="0"/>
              <c:showBubbleSize val="0"/>
            </c:dLbl>
            <c:dLbl>
              <c:idx val="1"/>
              <c:tx>
                <c:rich>
                  <a:bodyPr/>
                  <a:lstStyle/>
                  <a:p>
                    <a:r>
                      <a:rPr>
                        <a:solidFill>
                          <a:srgbClr val="FFFFFF"/>
                        </a:solidFill>
                      </a:rPr>
                      <a:t>609.4</a:t>
                    </a:r>
                  </a:p>
                </c:rich>
              </c:tx>
              <c:showLegendKey val="0"/>
              <c:showVal val="1"/>
              <c:showCatName val="0"/>
              <c:showSerName val="0"/>
              <c:showPercent val="0"/>
              <c:showBubbleSize val="0"/>
            </c:dLbl>
            <c:dLbl>
              <c:idx val="2"/>
              <c:tx>
                <c:rich>
                  <a:bodyPr/>
                  <a:lstStyle/>
                  <a:p>
                    <a:r>
                      <a:rPr>
                        <a:solidFill>
                          <a:srgbClr val="FFFFFF"/>
                        </a:solidFill>
                      </a:rPr>
                      <a:t>366.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542.501619</c:v>
                </c:pt>
                <c:pt idx="1">
                  <c:v>609.446842</c:v>
                </c:pt>
                <c:pt idx="2">
                  <c:v>366.148964</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tx>
                <c:rich>
                  <a:bodyPr/>
                  <a:lstStyle/>
                  <a:p>
                    <a:r>
                      <a:rPr>
                        <a:solidFill>
                          <a:srgbClr val="FFFFFF"/>
                        </a:solidFill>
                      </a:rPr>
                      <a:t>93.0</a:t>
                    </a:r>
                  </a:p>
                </c:rich>
              </c:tx>
              <c:showLegendKey val="0"/>
              <c:showVal val="1"/>
              <c:showCatName val="0"/>
              <c:showSerName val="0"/>
              <c:showPercent val="0"/>
              <c:showBubbleSize val="0"/>
            </c:dLbl>
            <c:dLbl>
              <c:idx val="1"/>
              <c:tx>
                <c:rich>
                  <a:bodyPr/>
                  <a:lstStyle/>
                  <a:p>
                    <a:r>
                      <a:rPr>
                        <a:solidFill>
                          <a:srgbClr val="FFFFFF"/>
                        </a:solidFill>
                      </a:rPr>
                      <a:t>102.4</a:t>
                    </a:r>
                  </a:p>
                </c:rich>
              </c:tx>
              <c:showLegendKey val="0"/>
              <c:showVal val="1"/>
              <c:showCatName val="0"/>
              <c:showSerName val="0"/>
              <c:showPercent val="0"/>
              <c:showBubbleSize val="0"/>
            </c:dLbl>
            <c:dLbl>
              <c:idx val="2"/>
              <c:tx>
                <c:rich>
                  <a:bodyPr/>
                  <a:lstStyle/>
                  <a:p>
                    <a:r>
                      <a:rPr>
                        <a:solidFill>
                          <a:srgbClr val="FFFFFF"/>
                        </a:solidFill>
                      </a:rPr>
                      <a:t>63.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92.963226</c:v>
                </c:pt>
                <c:pt idx="1">
                  <c:v>102.359763</c:v>
                </c:pt>
                <c:pt idx="2">
                  <c:v>63.910887</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Entremont</c:v>
                </c:pt>
              </c:strCache>
            </c:strRef>
          </c:tx>
          <c:spPr>
            <a:solidFill>
              <a:srgbClr val="7F7F7F"/>
            </a:solidFill>
            <a:ln>
              <a:solidFill>
                <a:schemeClr val="bg1"/>
              </a:solidFill>
            </a:ln>
            <a:effectLst/>
          </c:spPr>
          <c:invertIfNegative val="0"/>
          <c:dLbls>
            <c:dLbl>
              <c:idx val="0"/>
              <c:tx>
                <c:rich>
                  <a:bodyPr/>
                  <a:lstStyle/>
                  <a:p>
                    <a:r>
                      <a:rPr>
                        <a:solidFill>
                          <a:srgbClr val="FFFFFF"/>
                        </a:solidFill>
                      </a:rPr>
                      <a:t>56.9</a:t>
                    </a:r>
                  </a:p>
                </c:rich>
              </c:tx>
              <c:showLegendKey val="0"/>
              <c:showVal val="1"/>
              <c:showCatName val="0"/>
              <c:showSerName val="0"/>
              <c:showPercent val="0"/>
              <c:showBubbleSize val="0"/>
            </c:dLbl>
            <c:dLbl>
              <c:idx val="1"/>
              <c:tx>
                <c:rich>
                  <a:bodyPr/>
                  <a:lstStyle/>
                  <a:p>
                    <a:r>
                      <a:rPr>
                        <a:solidFill>
                          <a:srgbClr val="FFFFFF"/>
                        </a:solidFill>
                      </a:rPr>
                      <a:t>63.5</a:t>
                    </a:r>
                  </a:p>
                </c:rich>
              </c:tx>
              <c:showLegendKey val="0"/>
              <c:showVal val="1"/>
              <c:showCatName val="0"/>
              <c:showSerName val="0"/>
              <c:showPercent val="0"/>
              <c:showBubbleSize val="0"/>
            </c:dLbl>
            <c:dLbl>
              <c:idx val="2"/>
              <c:tx>
                <c:rich>
                  <a:bodyPr/>
                  <a:lstStyle/>
                  <a:p>
                    <a:r>
                      <a:rPr>
                        <a:solidFill>
                          <a:srgbClr val="FFFFFF"/>
                        </a:solidFill>
                      </a:rPr>
                      <a:t>3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56.945995</c:v>
                </c:pt>
                <c:pt idx="1">
                  <c:v>63.499516</c:v>
                </c:pt>
                <c:pt idx="2">
                  <c:v>37.470134</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Soignon</c:v>
                </c:pt>
              </c:strCache>
            </c:strRef>
          </c:tx>
          <c:spPr>
            <a:solidFill>
              <a:srgbClr val="575555"/>
            </a:solidFill>
            <a:ln>
              <a:solidFill>
                <a:schemeClr val="bg1"/>
              </a:solidFill>
            </a:ln>
            <a:effectLst/>
          </c:spPr>
          <c:invertIfNegative val="0"/>
          <c:dLbls>
            <c:dLbl>
              <c:idx val="0"/>
              <c:tx>
                <c:rich>
                  <a:bodyPr/>
                  <a:lstStyle/>
                  <a:p>
                    <a:r>
                      <a:rPr>
                        <a:solidFill>
                          <a:srgbClr val="FFFFFF"/>
                        </a:solidFill>
                      </a:rPr>
                      <a:t>36.5</a:t>
                    </a:r>
                  </a:p>
                </c:rich>
              </c:tx>
              <c:showLegendKey val="0"/>
              <c:showVal val="1"/>
              <c:showCatName val="0"/>
              <c:showSerName val="0"/>
              <c:showPercent val="0"/>
              <c:showBubbleSize val="0"/>
            </c:dLbl>
            <c:dLbl>
              <c:idx val="1"/>
              <c:tx>
                <c:rich>
                  <a:bodyPr/>
                  <a:lstStyle/>
                  <a:p>
                    <a:r>
                      <a:rPr>
                        <a:solidFill>
                          <a:srgbClr val="FFFFFF"/>
                        </a:solidFill>
                      </a:rPr>
                      <a:t>36.9</a:t>
                    </a:r>
                  </a:p>
                </c:rich>
              </c:tx>
              <c:showLegendKey val="0"/>
              <c:showVal val="1"/>
              <c:showCatName val="0"/>
              <c:showSerName val="0"/>
              <c:showPercent val="0"/>
              <c:showBubbleSize val="0"/>
            </c:dLbl>
            <c:dLbl>
              <c:idx val="2"/>
              <c:tx>
                <c:rich>
                  <a:bodyPr/>
                  <a:lstStyle/>
                  <a:p>
                    <a:r>
                      <a:rPr>
                        <a:solidFill>
                          <a:srgbClr val="FFFFFF"/>
                        </a:solidFill>
                      </a:rPr>
                      <a:t>2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36.452484</c:v>
                </c:pt>
                <c:pt idx="1">
                  <c:v>36.858634</c:v>
                </c:pt>
                <c:pt idx="2">
                  <c:v>20.518111</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Leerdammer</c:v>
                </c:pt>
              </c:strCache>
            </c:strRef>
          </c:tx>
          <c:spPr>
            <a:solidFill>
              <a:srgbClr val="575555"/>
            </a:solidFill>
            <a:ln>
              <a:solidFill>
                <a:schemeClr val="bg1"/>
              </a:solidFill>
            </a:ln>
            <a:effectLst/>
          </c:spPr>
          <c:invertIfNegative val="0"/>
          <c:dLbls>
            <c:dLbl>
              <c:idx val="0"/>
              <c:tx>
                <c:rich>
                  <a:bodyPr/>
                  <a:lstStyle/>
                  <a:p>
                    <a:r>
                      <a:rPr>
                        <a:solidFill>
                          <a:srgbClr val="FFFFFF"/>
                        </a:solidFill>
                      </a:rPr>
                      <a:t>29.4</a:t>
                    </a:r>
                  </a:p>
                </c:rich>
              </c:tx>
              <c:showLegendKey val="0"/>
              <c:showVal val="1"/>
              <c:showCatName val="0"/>
              <c:showSerName val="0"/>
              <c:showPercent val="0"/>
              <c:showBubbleSize val="0"/>
            </c:dLbl>
            <c:dLbl>
              <c:idx val="1"/>
              <c:tx>
                <c:rich>
                  <a:bodyPr/>
                  <a:lstStyle/>
                  <a:p>
                    <a:r>
                      <a:rPr>
                        <a:solidFill>
                          <a:srgbClr val="FFFFFF"/>
                        </a:solidFill>
                      </a:rPr>
                      <a:t>29.3</a:t>
                    </a:r>
                  </a:p>
                </c:rich>
              </c:tx>
              <c:showLegendKey val="0"/>
              <c:showVal val="1"/>
              <c:showCatName val="0"/>
              <c:showSerName val="0"/>
              <c:showPercent val="0"/>
              <c:showBubbleSize val="0"/>
            </c:dLbl>
            <c:dLbl>
              <c:idx val="2"/>
              <c:tx>
                <c:rich>
                  <a:bodyPr/>
                  <a:lstStyle/>
                  <a:p>
                    <a:r>
                      <a:rPr>
                        <a:solidFill>
                          <a:srgbClr val="FFFFFF"/>
                        </a:solidFill>
                      </a:rPr>
                      <a:t>17.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9.368504</c:v>
                </c:pt>
                <c:pt idx="1">
                  <c:v>29.345677</c:v>
                </c:pt>
                <c:pt idx="2">
                  <c:v>17.46536</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Galbani</c:v>
                </c:pt>
              </c:strCache>
            </c:strRef>
          </c:tx>
          <c:spPr>
            <a:solidFill>
              <a:srgbClr val="575555"/>
            </a:solidFill>
            <a:ln>
              <a:solidFill>
                <a:schemeClr val="bg1"/>
              </a:solidFill>
            </a:ln>
            <a:effectLst/>
          </c:spPr>
          <c:invertIfNegative val="0"/>
          <c:dLbls>
            <c:dLbl>
              <c:idx val="0"/>
              <c:tx>
                <c:rich>
                  <a:bodyPr/>
                  <a:lstStyle/>
                  <a:p>
                    <a:r>
                      <a:rPr>
                        <a:solidFill>
                          <a:srgbClr val="FFFFFF"/>
                        </a:solidFill>
                      </a:rPr>
                      <a:t>24.6</a:t>
                    </a:r>
                  </a:p>
                </c:rich>
              </c:tx>
              <c:showLegendKey val="0"/>
              <c:showVal val="1"/>
              <c:showCatName val="0"/>
              <c:showSerName val="0"/>
              <c:showPercent val="0"/>
              <c:showBubbleSize val="0"/>
            </c:dLbl>
            <c:dLbl>
              <c:idx val="1"/>
              <c:tx>
                <c:rich>
                  <a:bodyPr/>
                  <a:lstStyle/>
                  <a:p>
                    <a:r>
                      <a:rPr>
                        <a:solidFill>
                          <a:srgbClr val="FFFFFF"/>
                        </a:solidFill>
                      </a:rPr>
                      <a:t>26.7</a:t>
                    </a:r>
                  </a:p>
                </c:rich>
              </c:tx>
              <c:showLegendKey val="0"/>
              <c:showVal val="1"/>
              <c:showCatName val="0"/>
              <c:showSerName val="0"/>
              <c:showPercent val="0"/>
              <c:showBubbleSize val="0"/>
            </c:dLbl>
            <c:dLbl>
              <c:idx val="2"/>
              <c:tx>
                <c:rich>
                  <a:bodyPr/>
                  <a:lstStyle/>
                  <a:p>
                    <a:r>
                      <a:rPr>
                        <a:solidFill>
                          <a:srgbClr val="FFFFFF"/>
                        </a:solidFill>
                      </a:rPr>
                      <a:t>21.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24.580123</c:v>
                </c:pt>
                <c:pt idx="1">
                  <c:v>26.696608</c:v>
                </c:pt>
                <c:pt idx="2">
                  <c:v>21.237284</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St Moret</c:v>
                </c:pt>
              </c:strCache>
            </c:strRef>
          </c:tx>
          <c:spPr>
            <a:solidFill>
              <a:srgbClr val="575555"/>
            </a:solidFill>
            <a:ln>
              <a:solidFill>
                <a:schemeClr val="bg1"/>
              </a:solidFill>
            </a:ln>
            <a:effectLst/>
          </c:spPr>
          <c:invertIfNegative val="0"/>
          <c:dLbls>
            <c:dLbl>
              <c:idx val="0"/>
              <c:tx>
                <c:rich>
                  <a:bodyPr/>
                  <a:lstStyle/>
                  <a:p>
                    <a:r>
                      <a:rPr>
                        <a:solidFill>
                          <a:srgbClr val="FFFFFF"/>
                        </a:solidFill>
                      </a:rPr>
                      <a:t>24.0</a:t>
                    </a:r>
                  </a:p>
                </c:rich>
              </c:tx>
              <c:showLegendKey val="0"/>
              <c:showVal val="1"/>
              <c:showCatName val="0"/>
              <c:showSerName val="0"/>
              <c:showPercent val="0"/>
              <c:showBubbleSize val="0"/>
            </c:dLbl>
            <c:dLbl>
              <c:idx val="1"/>
              <c:tx>
                <c:rich>
                  <a:bodyPr/>
                  <a:lstStyle/>
                  <a:p>
                    <a:r>
                      <a:rPr>
                        <a:solidFill>
                          <a:srgbClr val="FFFFFF"/>
                        </a:solidFill>
                      </a:rPr>
                      <a:t>27.4</a:t>
                    </a:r>
                  </a:p>
                </c:rich>
              </c:tx>
              <c:showLegendKey val="0"/>
              <c:showVal val="1"/>
              <c:showCatName val="0"/>
              <c:showSerName val="0"/>
              <c:showPercent val="0"/>
              <c:showBubbleSize val="0"/>
            </c:dLbl>
            <c:dLbl>
              <c:idx val="2"/>
              <c:tx>
                <c:rich>
                  <a:bodyPr/>
                  <a:lstStyle/>
                  <a:p>
                    <a:r>
                      <a:rPr>
                        <a:solidFill>
                          <a:srgbClr val="FFFFFF"/>
                        </a:solidFill>
                      </a:rPr>
                      <a:t>20.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24.036489</c:v>
                </c:pt>
                <c:pt idx="1">
                  <c:v>27.437553</c:v>
                </c:pt>
                <c:pt idx="2">
                  <c:v>20.352995</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Caprice Des Dieux</c:v>
                </c:pt>
              </c:strCache>
            </c:strRef>
          </c:tx>
          <c:spPr>
            <a:solidFill>
              <a:srgbClr val="575555"/>
            </a:solidFill>
            <a:ln>
              <a:solidFill>
                <a:schemeClr val="bg1"/>
              </a:solidFill>
            </a:ln>
            <a:effectLst/>
          </c:spPr>
          <c:invertIfNegative val="0"/>
          <c:dLbls>
            <c:dLbl>
              <c:idx val="0"/>
              <c:tx>
                <c:rich>
                  <a:bodyPr/>
                  <a:lstStyle/>
                  <a:p>
                    <a:r>
                      <a:rPr>
                        <a:solidFill>
                          <a:srgbClr val="FFFFFF"/>
                        </a:solidFill>
                      </a:rPr>
                      <a:t>26.1</a:t>
                    </a:r>
                  </a:p>
                </c:rich>
              </c:tx>
              <c:showLegendKey val="0"/>
              <c:showVal val="1"/>
              <c:showCatName val="0"/>
              <c:showSerName val="0"/>
              <c:showPercent val="0"/>
              <c:showBubbleSize val="0"/>
            </c:dLbl>
            <c:dLbl>
              <c:idx val="1"/>
              <c:tx>
                <c:rich>
                  <a:bodyPr/>
                  <a:lstStyle/>
                  <a:p>
                    <a:r>
                      <a:rPr>
                        <a:solidFill>
                          <a:srgbClr val="FFFFFF"/>
                        </a:solidFill>
                      </a:rPr>
                      <a:t>27.8</a:t>
                    </a:r>
                  </a:p>
                </c:rich>
              </c:tx>
              <c:showLegendKey val="0"/>
              <c:showVal val="1"/>
              <c:showCatName val="0"/>
              <c:showSerName val="0"/>
              <c:showPercent val="0"/>
              <c:showBubbleSize val="0"/>
            </c:dLbl>
            <c:dLbl>
              <c:idx val="2"/>
              <c:tx>
                <c:rich>
                  <a:bodyPr/>
                  <a:lstStyle/>
                  <a:p>
                    <a:r>
                      <a:rPr>
                        <a:solidFill>
                          <a:srgbClr val="FFFFFF"/>
                        </a:solidFill>
                      </a:rPr>
                      <a:t>16.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26.129636</c:v>
                </c:pt>
                <c:pt idx="1">
                  <c:v>27.757568</c:v>
                </c:pt>
                <c:pt idx="2">
                  <c:v>16.930754</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Richesmonts</c:v>
                </c:pt>
              </c:strCache>
            </c:strRef>
          </c:tx>
          <c:spPr>
            <a:solidFill>
              <a:srgbClr val="575555"/>
            </a:solidFill>
            <a:ln>
              <a:solidFill>
                <a:schemeClr val="bg1"/>
              </a:solidFill>
            </a:ln>
            <a:effectLst/>
          </c:spPr>
          <c:invertIfNegative val="0"/>
          <c:dLbls>
            <c:dLbl>
              <c:idx val="0"/>
              <c:tx>
                <c:rich>
                  <a:bodyPr/>
                  <a:lstStyle/>
                  <a:p>
                    <a:r>
                      <a:rPr>
                        <a:solidFill>
                          <a:srgbClr val="FFFFFF"/>
                        </a:solidFill>
                      </a:rPr>
                      <a:t>23.9</a:t>
                    </a:r>
                  </a:p>
                </c:rich>
              </c:tx>
              <c:showLegendKey val="0"/>
              <c:showVal val="1"/>
              <c:showCatName val="0"/>
              <c:showSerName val="0"/>
              <c:showPercent val="0"/>
              <c:showBubbleSize val="0"/>
            </c:dLbl>
            <c:dLbl>
              <c:idx val="1"/>
              <c:tx>
                <c:rich>
                  <a:bodyPr/>
                  <a:lstStyle/>
                  <a:p>
                    <a:r>
                      <a:rPr>
                        <a:solidFill>
                          <a:srgbClr val="FFFFFF"/>
                        </a:solidFill>
                      </a:rPr>
                      <a:t>25.5</a:t>
                    </a:r>
                  </a:p>
                </c:rich>
              </c:tx>
              <c:showLegendKey val="0"/>
              <c:showVal val="1"/>
              <c:showCatName val="0"/>
              <c:showSerName val="0"/>
              <c:showPercent val="0"/>
              <c:showBubbleSize val="0"/>
            </c:dLbl>
            <c:dLbl>
              <c:idx val="2"/>
              <c:tx>
                <c:rich>
                  <a:bodyPr/>
                  <a:lstStyle/>
                  <a:p>
                    <a:r>
                      <a:rPr>
                        <a:solidFill>
                          <a:srgbClr val="FFFFFF"/>
                        </a:solidFill>
                      </a:rPr>
                      <a:t>1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23.931396</c:v>
                </c:pt>
                <c:pt idx="1">
                  <c:v>25.489758</c:v>
                </c:pt>
                <c:pt idx="2">
                  <c:v>11.625821</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224348930974523</c:v>
                </c:pt>
                <c:pt idx="1">
                  <c:v>0.2880219800899527</c:v>
                </c:pt>
                <c:pt idx="2">
                  <c:v>0.3449459835674076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Apericube</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7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775651069025477</c:v>
                </c:pt>
                <c:pt idx="1">
                  <c:v>0.7119780199100473</c:v>
                </c:pt>
                <c:pt idx="2">
                  <c:v>0.655054016432592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43%</a:t>
                    </a:r>
                  </a:p>
                </c:rich>
              </c:tx>
              <c:showLegendKey val="0"/>
              <c:showVal val="1"/>
              <c:showCatName val="0"/>
              <c:showSerName val="0"/>
              <c:showPercent val="0"/>
              <c:showBubbleSize val="0"/>
            </c:dLbl>
            <c:dLbl>
              <c:idx val="1"/>
              <c:tx>
                <c:rich>
                  <a:bodyPr/>
                  <a:lstStyle/>
                  <a:p>
                    <a:r>
                      <a:rPr sz="800">
                        <a:solidFill>
                          <a:srgbClr val="FFFFFF"/>
                        </a:solidFill>
                        <a:latin typeface="Nexa Book"/>
                      </a:rPr>
                      <a:t>44%</a:t>
                    </a:r>
                  </a:p>
                </c:rich>
              </c:tx>
              <c:showLegendKey val="0"/>
              <c:showVal val="1"/>
              <c:showCatName val="0"/>
              <c:showSerName val="0"/>
              <c:showPercent val="0"/>
              <c:showBubbleSize val="0"/>
            </c:dLbl>
            <c:dLbl>
              <c:idx val="2"/>
              <c:tx>
                <c:rich>
                  <a:bodyPr/>
                  <a:lstStyle/>
                  <a:p>
                    <a:r>
                      <a:rPr sz="800">
                        <a:solidFill>
                          <a:srgbClr val="FFFFFF"/>
                        </a:solidFill>
                        <a:latin typeface="Nexa Book"/>
                      </a:rPr>
                      <a:t>5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315395036145916</c:v>
                </c:pt>
                <c:pt idx="1">
                  <c:v>0.43672152275415993</c:v>
                </c:pt>
                <c:pt idx="2">
                  <c:v>0.53739470718582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56%</a:t>
                    </a:r>
                  </a:p>
                </c:rich>
              </c:tx>
              <c:showLegendKey val="0"/>
              <c:showVal val="1"/>
              <c:showCatName val="0"/>
              <c:showSerName val="0"/>
              <c:showPercent val="0"/>
              <c:showBubbleSize val="0"/>
            </c:dLbl>
            <c:dLbl>
              <c:idx val="2"/>
              <c:tx>
                <c:rich>
                  <a:bodyPr/>
                  <a:lstStyle/>
                  <a:p>
                    <a:r>
                      <a:rPr sz="800">
                        <a:solidFill>
                          <a:srgbClr val="FFFFFF"/>
                        </a:solidFill>
                        <a:latin typeface="Nexa Book"/>
                      </a:rPr>
                      <a:t>4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684604963854084</c:v>
                </c:pt>
                <c:pt idx="1">
                  <c:v>0.5632784772458401</c:v>
                </c:pt>
                <c:pt idx="2">
                  <c:v>0.46260529281417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3820096571528513</c:v>
                </c:pt>
                <c:pt idx="1">
                  <c:v>0.34911777920866877</c:v>
                </c:pt>
                <c:pt idx="2">
                  <c:v>0.4547289835824334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617990342847149</c:v>
                </c:pt>
                <c:pt idx="1">
                  <c:v>0.6508822207913313</c:v>
                </c:pt>
                <c:pt idx="2">
                  <c:v>0.545271016417566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00%</a:t>
                    </a:r>
                  </a:p>
                </c:rich>
              </c:tx>
              <c:showLegendKey val="0"/>
              <c:showVal val="1"/>
              <c:showCatName val="0"/>
              <c:showSerName val="0"/>
              <c:showPercent val="0"/>
              <c:showBubbleSize val="0"/>
            </c:dLbl>
            <c:dLbl>
              <c:idx val="1"/>
              <c:tx>
                <c:rich>
                  <a:bodyPr/>
                  <a:lstStyle/>
                  <a:p>
                    <a:r>
                      <a:rPr sz="800">
                        <a:solidFill>
                          <a:srgbClr val="FFFFFF"/>
                        </a:solidFill>
                        <a:latin typeface="Nexa Book"/>
                      </a:rPr>
                      <a:t>100%</a:t>
                    </a:r>
                  </a:p>
                </c:rich>
              </c:tx>
              <c:showLegendKey val="0"/>
              <c:showVal val="1"/>
              <c:showCatName val="0"/>
              <c:showSerName val="0"/>
              <c:showPercent val="0"/>
              <c:showBubbleSize val="0"/>
            </c:dLbl>
            <c:dLbl>
              <c:idx val="2"/>
              <c:tx>
                <c:rich>
                  <a:bodyPr/>
                  <a:lstStyle/>
                  <a:p>
                    <a:r>
                      <a:rPr sz="800">
                        <a:solidFill>
                          <a:srgbClr val="FFFFFF"/>
                        </a:solidFill>
                        <a:latin typeface="Nexa Book"/>
                      </a:rPr>
                      <a:t>10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0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0</c:v>
                </c:pt>
                <c:pt idx="1">
                  <c:v>1.0</c:v>
                </c:pt>
                <c:pt idx="2">
                  <c:v>1.0</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2%</a:t>
                    </a:r>
                  </a:p>
                </c:rich>
              </c:tx>
              <c:showLegendKey val="0"/>
              <c:showVal val="1"/>
              <c:showCatName val="0"/>
              <c:showSerName val="0"/>
              <c:showPercent val="0"/>
              <c:showBubbleSize val="0"/>
            </c:dLbl>
            <c:dLbl>
              <c:idx val="1"/>
              <c:tx>
                <c:rich>
                  <a:bodyPr/>
                  <a:lstStyle/>
                  <a:p>
                    <a:r>
                      <a:rPr sz="800">
                        <a:solidFill>
                          <a:srgbClr val="FFFFFF"/>
                        </a:solidFill>
                        <a:latin typeface="Nexa Book"/>
                      </a:rPr>
                      <a:t>54%</a:t>
                    </a:r>
                  </a:p>
                </c:rich>
              </c:tx>
              <c:showLegendKey val="0"/>
              <c:showVal val="1"/>
              <c:showCatName val="0"/>
              <c:showSerName val="0"/>
              <c:showPercent val="0"/>
              <c:showBubbleSize val="0"/>
            </c:dLbl>
            <c:dLbl>
              <c:idx val="2"/>
              <c:tx>
                <c:rich>
                  <a:bodyPr/>
                  <a:lstStyle/>
                  <a:p>
                    <a:r>
                      <a:rPr sz="800">
                        <a:solidFill>
                          <a:srgbClr val="FFFFFF"/>
                        </a:solidFill>
                        <a:latin typeface="Nexa Book"/>
                      </a:rPr>
                      <a:t>5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229548266960558</c:v>
                </c:pt>
                <c:pt idx="1">
                  <c:v>0.5377256309403233</c:v>
                </c:pt>
                <c:pt idx="2">
                  <c:v>0.55417481286764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48%</a:t>
                    </a:r>
                  </a:p>
                </c:rich>
              </c:tx>
              <c:showLegendKey val="0"/>
              <c:showVal val="1"/>
              <c:showCatName val="0"/>
              <c:showSerName val="0"/>
              <c:showPercent val="0"/>
              <c:showBubbleSize val="0"/>
            </c:dLbl>
            <c:dLbl>
              <c:idx val="1"/>
              <c:tx>
                <c:rich>
                  <a:bodyPr/>
                  <a:lstStyle/>
                  <a:p>
                    <a:r>
                      <a:rPr sz="800">
                        <a:solidFill>
                          <a:srgbClr val="FFFFFF"/>
                        </a:solidFill>
                        <a:latin typeface="Nexa Book"/>
                      </a:rPr>
                      <a:t>46%</a:t>
                    </a:r>
                  </a:p>
                </c:rich>
              </c:tx>
              <c:showLegendKey val="0"/>
              <c:showVal val="1"/>
              <c:showCatName val="0"/>
              <c:showSerName val="0"/>
              <c:showPercent val="0"/>
              <c:showBubbleSize val="0"/>
            </c:dLbl>
            <c:dLbl>
              <c:idx val="2"/>
              <c:tx>
                <c:rich>
                  <a:bodyPr/>
                  <a:lstStyle/>
                  <a:p>
                    <a:r>
                      <a:rPr sz="800">
                        <a:solidFill>
                          <a:srgbClr val="FFFFFF"/>
                        </a:solidFill>
                        <a:latin typeface="Nexa Book"/>
                      </a:rPr>
                      <a:t>4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4770451733039442</c:v>
                </c:pt>
                <c:pt idx="1">
                  <c:v>0.4622743690596765</c:v>
                </c:pt>
                <c:pt idx="2">
                  <c:v>0.4458251871323559</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23276775480051</c:v>
                </c:pt>
                <c:pt idx="1">
                  <c:v>0.45004562673325943</c:v>
                </c:pt>
                <c:pt idx="2">
                  <c:v>0.473262704706091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767232245199491</c:v>
                </c:pt>
                <c:pt idx="1">
                  <c:v>0.5499543732667406</c:v>
                </c:pt>
                <c:pt idx="2">
                  <c:v>0.526737295293908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11%</a:t>
                    </a:r>
                  </a:p>
                </c:rich>
              </c:tx>
              <c:showLegendKey val="0"/>
              <c:showVal val="1"/>
              <c:showCatName val="0"/>
              <c:showSerName val="0"/>
              <c:showPercent val="0"/>
              <c:showBubbleSize val="0"/>
            </c:dLbl>
            <c:dLbl>
              <c:idx val="1"/>
              <c:tx>
                <c:rich>
                  <a:bodyPr/>
                  <a:lstStyle/>
                  <a:p>
                    <a:r>
                      <a:rPr sz="800">
                        <a:solidFill>
                          <a:srgbClr val="FFFFFF"/>
                        </a:solidFill>
                        <a:latin typeface="Nexa Book"/>
                      </a:rPr>
                      <a:t>10%</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0694097290247957</c:v>
                </c:pt>
                <c:pt idx="1">
                  <c:v>0.10160112406753578</c:v>
                </c:pt>
                <c:pt idx="2">
                  <c:v>0.10829615040847572</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ini Babybe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6981374639541245</c:v>
                </c:pt>
                <c:pt idx="1">
                  <c:v>0.2592422416760622</c:v>
                </c:pt>
                <c:pt idx="2">
                  <c:v>0.24219368023072183</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La Vache Qui Rit</c:v>
                </c:pt>
              </c:strCache>
            </c:strRef>
          </c:tx>
          <c:spPr>
            <a:solidFill>
              <a:srgbClr val="00A097"/>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6%</a:t>
                    </a:r>
                  </a:p>
                </c:rich>
              </c:tx>
              <c:showLegendKey val="0"/>
              <c:showVal val="1"/>
              <c:showCatName val="0"/>
              <c:showSerName val="0"/>
              <c:showPercent val="0"/>
              <c:showBubbleSize val="0"/>
            </c:dLbl>
            <c:dLbl>
              <c:idx val="2"/>
              <c:tx>
                <c:rich>
                  <a:bodyPr/>
                  <a:lstStyle/>
                  <a:p>
                    <a:r>
                      <a:rPr sz="800">
                        <a:solidFill>
                          <a:srgbClr val="FFFFFF"/>
                        </a:solidFill>
                        <a:latin typeface="Nexa Book"/>
                      </a:rPr>
                      <a:t>27%</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451623766171347</c:v>
                </c:pt>
                <c:pt idx="1">
                  <c:v>0.2566764435835322</c:v>
                </c:pt>
                <c:pt idx="2">
                  <c:v>0.2694168632528860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9563527195604777</c:v>
                </c:pt>
                <c:pt idx="1">
                  <c:v>0.19694889000894678</c:v>
                </c:pt>
                <c:pt idx="2">
                  <c:v>0.20508703599263137</c:v>
                </c:pt>
              </c:numCache>
            </c:numRef>
          </c:val>
          <c:extLst>
            <c:ext xmlns:c16="http://schemas.microsoft.com/office/drawing/2014/chart" uri="{C3380CC4-5D6E-409C-BE32-E72D297353CC}">
              <c16:uniqueId val="{00000000-C587-4D25-9FAB-90188F724A36}"/>
            </c:ext>
          </c:extLst>
        </c:ser>
        <c:ser>
          <c:idx val="4"/>
          <c:order val="4"/>
          <c:tx>
            <c:strRef>
              <c:f>Sheet1!$F$1</c:f>
              <c:strCache>
                <c:ptCount val="1"/>
                <c:pt idx="0">
                  <c:v>Private Label</c:v>
                </c:pt>
              </c:strCache>
            </c:strRef>
          </c:tx>
          <c:spPr>
            <a:solidFill>
              <a:srgbClr val="575555"/>
            </a:solidFill>
            <a:ln>
              <a:solidFill>
                <a:schemeClr val="bg1"/>
              </a:solidFill>
            </a:ln>
            <a:effectLst/>
          </c:spPr>
          <c:invertIfNegative val="0"/>
          <c:dLbls>
            <c:dLbl>
              <c:idx val="0"/>
              <c:tx>
                <c:rich>
                  <a:bodyPr/>
                  <a:lstStyle/>
                  <a:p>
                    <a:r>
                      <a:rPr sz="800">
                        <a:solidFill>
                          <a:srgbClr val="FFFFFF"/>
                        </a:solidFill>
                        <a:latin typeface="Nexa Book"/>
                      </a:rPr>
                      <a:t>18%</a:t>
                    </a:r>
                  </a:p>
                </c:rich>
              </c:tx>
              <c:showLegendKey val="0"/>
              <c:showVal val="1"/>
              <c:showCatName val="0"/>
              <c:showSerName val="0"/>
              <c:showPercent val="0"/>
              <c:showBubbleSize val="0"/>
            </c:dLbl>
            <c:dLbl>
              <c:idx val="1"/>
              <c:tx>
                <c:rich>
                  <a:bodyPr/>
                  <a:lstStyle/>
                  <a:p>
                    <a:r>
                      <a:rPr sz="800">
                        <a:solidFill>
                          <a:srgbClr val="FFFFFF"/>
                        </a:solidFill>
                        <a:latin typeface="Nexa Book"/>
                      </a:rPr>
                      <a:t>19%</a:t>
                    </a:r>
                  </a:p>
                </c:rich>
              </c:tx>
              <c:showLegendKey val="0"/>
              <c:showVal val="1"/>
              <c:showCatName val="0"/>
              <c:showSerName val="0"/>
              <c:showPercent val="0"/>
              <c:showBubbleSize val="0"/>
            </c:dLbl>
            <c:dLbl>
              <c:idx val="2"/>
              <c:tx>
                <c:rich>
                  <a:bodyPr/>
                  <a:lstStyle/>
                  <a:p>
                    <a:r>
                      <a:rPr sz="800">
                        <a:solidFill>
                          <a:srgbClr val="FFFFFF"/>
                        </a:solidFill>
                        <a:latin typeface="Nexa Book"/>
                      </a:rPr>
                      <a:t>1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18244763212892554</c:v>
                </c:pt>
                <c:pt idx="1">
                  <c:v>0.18553130066392304</c:v>
                </c:pt>
                <c:pt idx="2">
                  <c:v>0.1750062701152850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06892457973757302</c:v>
                </c:pt>
                <c:pt idx="1">
                  <c:v>0.0623540118561868</c:v>
                </c:pt>
                <c:pt idx="2">
                  <c:v>0.0638783994047486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ini Babybe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19850013013200604</c:v>
                </c:pt>
                <c:pt idx="1">
                  <c:v>0.18796892867920248</c:v>
                </c:pt>
                <c:pt idx="2">
                  <c:v>0.16610475237146538</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La Vache Qui Rit</c:v>
                </c:pt>
              </c:strCache>
            </c:strRef>
          </c:tx>
          <c:spPr>
            <a:solidFill>
              <a:srgbClr val="00A097"/>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7202383419937637</c:v>
                </c:pt>
                <c:pt idx="1">
                  <c:v>0.288215218176801</c:v>
                </c:pt>
                <c:pt idx="2">
                  <c:v>0.3066096894923684</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780732765960071</c:v>
                </c:pt>
                <c:pt idx="1">
                  <c:v>0.17437147095798863</c:v>
                </c:pt>
                <c:pt idx="2">
                  <c:v>0.18895725923973633</c:v>
                </c:pt>
              </c:numCache>
            </c:numRef>
          </c:val>
          <c:extLst>
            <c:ext xmlns:c16="http://schemas.microsoft.com/office/drawing/2014/chart" uri="{C3380CC4-5D6E-409C-BE32-E72D297353CC}">
              <c16:uniqueId val="{00000000-E8ED-4355-AB33-141417161D1C}"/>
            </c:ext>
          </c:extLst>
        </c:ser>
        <c:ser>
          <c:idx val="4"/>
          <c:order val="4"/>
          <c:tx>
            <c:strRef>
              <c:f>Sheet1!$F$1</c:f>
              <c:strCache>
                <c:ptCount val="1"/>
                <c:pt idx="0">
                  <c:v>Private Label</c:v>
                </c:pt>
              </c:strCache>
            </c:strRef>
          </c:tx>
          <c:spPr>
            <a:solidFill>
              <a:srgbClr val="575555"/>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0.28247817933503744</c:v>
                </c:pt>
                <c:pt idx="1">
                  <c:v>0.2870903703298211</c:v>
                </c:pt>
                <c:pt idx="2">
                  <c:v>0.274449899491681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1%</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779136146810404</c:v>
                </c:pt>
                <c:pt idx="1">
                  <c:v>0.2125302425008161</c:v>
                </c:pt>
                <c:pt idx="2">
                  <c:v>0.22156046892648418</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La Vache Qui Rit</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3%</a:t>
                    </a:r>
                  </a:p>
                </c:rich>
              </c:tx>
              <c:showLegendKey val="0"/>
              <c:showVal val="1"/>
              <c:showCatName val="0"/>
              <c:showSerName val="0"/>
              <c:showPercent val="0"/>
              <c:showBubbleSize val="0"/>
            </c:dLbl>
            <c:dLbl>
              <c:idx val="2"/>
              <c:tx>
                <c:rich>
                  <a:bodyPr/>
                  <a:lstStyle/>
                  <a:p>
                    <a:r>
                      <a:rPr sz="800">
                        <a:solidFill>
                          <a:srgbClr val="FFFFFF"/>
                        </a:solidFill>
                        <a:latin typeface="Nexa Book"/>
                      </a:rPr>
                      <a:t>3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1279822864078793</c:v>
                </c:pt>
                <c:pt idx="1">
                  <c:v>0.32638086962569135</c:v>
                </c:pt>
                <c:pt idx="2">
                  <c:v>0.317186371041809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ini Babybel</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5%</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769778981618474</c:v>
                </c:pt>
                <c:pt idx="1">
                  <c:v>0.24538875669045365</c:v>
                </c:pt>
                <c:pt idx="2">
                  <c:v>0.23408010129510645</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2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1171262007492328</c:v>
                </c:pt>
                <c:pt idx="1">
                  <c:v>0.21570013118303885</c:v>
                </c:pt>
                <c:pt idx="2">
                  <c:v>0.22717305873659976</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7.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7.9</a:t>
                    </a:r>
                  </a:p>
                </c:rich>
              </c:tx>
              <c:showLegendKey val="0"/>
              <c:showVal val="1"/>
              <c:showCatName val="0"/>
              <c:showSerName val="0"/>
              <c:showPercent val="0"/>
              <c:showBubbleSize val="0"/>
            </c:dLbl>
            <c:dLbl>
              <c:idx val="2"/>
              <c:tx>
                <c:rich>
                  <a:bodyPr/>
                  <a:lstStyle/>
                  <a:p>
                    <a:r>
                      <a:rPr>
                        <a:solidFill>
                          <a:srgbClr val="FFFFFF"/>
                        </a:solidFill>
                      </a:rPr>
                      <a:t>55.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87.941467</c:v>
                </c:pt>
                <c:pt idx="1">
                  <c:v>87.946762</c:v>
                </c:pt>
                <c:pt idx="2">
                  <c:v>55.475897</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65.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6.4</a:t>
                    </a:r>
                  </a:p>
                </c:rich>
              </c:tx>
              <c:showLegendKey val="0"/>
              <c:showVal val="1"/>
              <c:showCatName val="0"/>
              <c:showSerName val="0"/>
              <c:showPercent val="0"/>
              <c:showBubbleSize val="0"/>
            </c:dLbl>
            <c:dLbl>
              <c:idx val="2"/>
              <c:tx>
                <c:rich>
                  <a:bodyPr/>
                  <a:lstStyle/>
                  <a:p>
                    <a:r>
                      <a:rPr>
                        <a:solidFill>
                          <a:srgbClr val="FFFFFF"/>
                        </a:solidFill>
                      </a:rPr>
                      <a:t>106.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65.424021</c:v>
                </c:pt>
                <c:pt idx="1">
                  <c:v>176.390376</c:v>
                </c:pt>
                <c:pt idx="2">
                  <c:v>106.398406</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4.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4.6</a:t>
                    </a:r>
                  </a:p>
                </c:rich>
              </c:tx>
              <c:showLegendKey val="0"/>
              <c:showVal val="1"/>
              <c:showCatName val="0"/>
              <c:showSerName val="0"/>
              <c:showPercent val="0"/>
              <c:showBubbleSize val="0"/>
            </c:dLbl>
            <c:dLbl>
              <c:idx val="2"/>
              <c:tx>
                <c:rich>
                  <a:bodyPr/>
                  <a:lstStyle/>
                  <a:p>
                    <a:r>
                      <a:rPr>
                        <a:solidFill>
                          <a:srgbClr val="FFFFFF"/>
                        </a:solidFill>
                      </a:rPr>
                      <a:t>14.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4.074402</c:v>
                </c:pt>
                <c:pt idx="1">
                  <c:v>24.610005</c:v>
                </c:pt>
                <c:pt idx="2">
                  <c:v>14.899046</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0</a:t>
                    </a:r>
                  </a:p>
                </c:rich>
              </c:tx>
              <c:showLegendKey val="0"/>
              <c:showVal val="1"/>
              <c:showCatName val="0"/>
              <c:showSerName val="0"/>
              <c:showPercent val="0"/>
              <c:showBubbleSize val="0"/>
            </c:dLbl>
            <c:dLbl>
              <c:idx val="2"/>
              <c:tx>
                <c:rich>
                  <a:bodyPr/>
                  <a:lstStyle/>
                  <a:p>
                    <a:r>
                      <a:rPr>
                        <a:solidFill>
                          <a:srgbClr val="FFFFFF"/>
                        </a:solidFill>
                      </a:rPr>
                      <a:t>9.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17.915776</c:v>
                </c:pt>
                <c:pt idx="1">
                  <c:v>16.999078</c:v>
                </c:pt>
                <c:pt idx="2">
                  <c:v>9.444931</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aprice Des Dieux</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4.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9</a:t>
                    </a:r>
                  </a:p>
                </c:rich>
              </c:tx>
              <c:showLegendKey val="0"/>
              <c:showVal val="1"/>
              <c:showCatName val="0"/>
              <c:showSerName val="0"/>
              <c:showPercent val="0"/>
              <c:showBubbleSize val="0"/>
            </c:dLbl>
            <c:dLbl>
              <c:idx val="2"/>
              <c:tx>
                <c:rich>
                  <a:bodyPr/>
                  <a:lstStyle/>
                  <a:p>
                    <a:r>
                      <a:rPr>
                        <a:solidFill>
                          <a:srgbClr val="FFFFFF"/>
                        </a:solidFill>
                      </a:rPr>
                      <a:t>8.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3.997161</c:v>
                </c:pt>
                <c:pt idx="1">
                  <c:v>13.915424</c:v>
                </c:pt>
                <c:pt idx="2">
                  <c:v>8.174282</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St More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2</a:t>
                    </a:r>
                  </a:p>
                </c:rich>
              </c:tx>
              <c:showLegendKey val="0"/>
              <c:showVal val="1"/>
              <c:showCatName val="0"/>
              <c:showSerName val="0"/>
              <c:showPercent val="0"/>
              <c:showBubbleSize val="0"/>
            </c:dLbl>
            <c:dLbl>
              <c:idx val="2"/>
              <c:tx>
                <c:rich>
                  <a:bodyPr/>
                  <a:lstStyle/>
                  <a:p>
                    <a:r>
                      <a:rPr>
                        <a:solidFill>
                          <a:srgbClr val="FFFFFF"/>
                        </a:solidFill>
                      </a:rPr>
                      <a:t>9.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2.310804</c:v>
                </c:pt>
                <c:pt idx="1">
                  <c:v>13.223214</c:v>
                </c:pt>
                <c:pt idx="2">
                  <c:v>9.028573</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Coeur De Li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9.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8.6</a:t>
                    </a:r>
                  </a:p>
                </c:rich>
              </c:tx>
              <c:showLegendKey val="0"/>
              <c:showVal val="1"/>
              <c:showCatName val="0"/>
              <c:showSerName val="0"/>
              <c:showPercent val="0"/>
              <c:showBubbleSize val="0"/>
            </c:dLbl>
            <c:dLbl>
              <c:idx val="2"/>
              <c:tx>
                <c:rich>
                  <a:bodyPr/>
                  <a:lstStyle/>
                  <a:p>
                    <a:r>
                      <a:rPr>
                        <a:solidFill>
                          <a:srgbClr val="FFFFFF"/>
                        </a:solidFill>
                      </a:rPr>
                      <a:t>10.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9.036201</c:v>
                </c:pt>
                <c:pt idx="1">
                  <c:v>18.5714</c:v>
                </c:pt>
                <c:pt idx="2">
                  <c:v>10.058207</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Mini Babybe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8.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8.7</a:t>
                    </a:r>
                  </a:p>
                </c:rich>
              </c:tx>
              <c:showLegendKey val="0"/>
              <c:showVal val="1"/>
              <c:showCatName val="0"/>
              <c:showSerName val="0"/>
              <c:showPercent val="0"/>
              <c:showBubbleSize val="0"/>
            </c:dLbl>
            <c:dLbl>
              <c:idx val="2"/>
              <c:tx>
                <c:rich>
                  <a:bodyPr/>
                  <a:lstStyle/>
                  <a:p>
                    <a:r>
                      <a:rPr>
                        <a:solidFill>
                          <a:srgbClr val="FFFFFF"/>
                        </a:solidFill>
                      </a:rPr>
                      <a:t>4.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8.690825</c:v>
                </c:pt>
                <c:pt idx="1">
                  <c:v>8.735471</c:v>
                </c:pt>
                <c:pt idx="2">
                  <c:v>4.51123</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La Vache Qui Ri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1.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3.4</a:t>
                    </a:r>
                  </a:p>
                </c:rich>
              </c:tx>
              <c:showLegendKey val="0"/>
              <c:showVal val="1"/>
              <c:showCatName val="0"/>
              <c:showSerName val="0"/>
              <c:showPercent val="0"/>
              <c:showBubbleSize val="0"/>
            </c:dLbl>
            <c:dLbl>
              <c:idx val="2"/>
              <c:tx>
                <c:rich>
                  <a:bodyPr/>
                  <a:lstStyle/>
                  <a:p>
                    <a:r>
                      <a:rPr>
                        <a:solidFill>
                          <a:srgbClr val="FFFFFF"/>
                        </a:solidFill>
                      </a:rPr>
                      <a:t>8.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1.909874</c:v>
                </c:pt>
                <c:pt idx="1">
                  <c:v>13.394218</c:v>
                </c:pt>
                <c:pt idx="2">
                  <c:v>8.327199</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Galbani</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9.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9.3</a:t>
                    </a:r>
                  </a:p>
                </c:rich>
              </c:tx>
              <c:showLegendKey val="0"/>
              <c:showVal val="1"/>
              <c:showCatName val="0"/>
              <c:showSerName val="0"/>
              <c:showPercent val="0"/>
              <c:showBubbleSize val="0"/>
            </c:dLbl>
            <c:dLbl>
              <c:idx val="2"/>
              <c:tx>
                <c:rich>
                  <a:bodyPr/>
                  <a:lstStyle/>
                  <a:p>
                    <a:r>
                      <a:rPr>
                        <a:solidFill>
                          <a:srgbClr val="FFFFFF"/>
                        </a:solidFill>
                      </a:rPr>
                      <a:t>6.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9.687478</c:v>
                </c:pt>
                <c:pt idx="1">
                  <c:v>9.295713</c:v>
                </c:pt>
                <c:pt idx="2">
                  <c:v>6.598572</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153636508902961</c:v>
                </c:pt>
                <c:pt idx="1">
                  <c:v>0.20825542862753266</c:v>
                </c:pt>
                <c:pt idx="2">
                  <c:v>0.2171687176638428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La Vache Qui Rit</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37992400856925196</c:v>
                </c:pt>
                <c:pt idx="1">
                  <c:v>0.39875152354276144</c:v>
                </c:pt>
                <c:pt idx="2">
                  <c:v>0.3934939904781545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ini Babybel</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852899925184772</c:v>
                </c:pt>
                <c:pt idx="1">
                  <c:v>0.18802615772052364</c:v>
                </c:pt>
                <c:pt idx="2">
                  <c:v>0.16632017189938791</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061833412886043</c:v>
                </c:pt>
                <c:pt idx="1">
                  <c:v>0.2049668901091823</c:v>
                </c:pt>
                <c:pt idx="2">
                  <c:v>0.2230171199586146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5%</a:t>
                    </a:r>
                  </a:p>
                </c:rich>
              </c:tx>
              <c:showLegendKey val="0"/>
              <c:showVal val="1"/>
              <c:showCatName val="0"/>
              <c:showSerName val="0"/>
              <c:showPercent val="0"/>
              <c:showBubbleSize val="0"/>
            </c:dLbl>
            <c:dLbl>
              <c:idx val="1"/>
              <c:tx>
                <c:rich>
                  <a:bodyPr/>
                  <a:lstStyle/>
                  <a:p>
                    <a:r>
                      <a:rPr sz="800">
                        <a:solidFill>
                          <a:srgbClr val="FFFFFF"/>
                        </a:solidFill>
                        <a:latin typeface="Nexa Book"/>
                      </a:rPr>
                      <a:t>24%</a:t>
                    </a:r>
                  </a:p>
                </c:rich>
              </c:tx>
              <c:showLegendKey val="0"/>
              <c:showVal val="1"/>
              <c:showCatName val="0"/>
              <c:showSerName val="0"/>
              <c:showPercent val="0"/>
              <c:showBubbleSize val="0"/>
            </c:dLbl>
            <c:dLbl>
              <c:idx val="2"/>
              <c:tx>
                <c:rich>
                  <a:bodyPr/>
                  <a:lstStyle/>
                  <a:p>
                    <a:r>
                      <a:rPr sz="800">
                        <a:solidFill>
                          <a:srgbClr val="FFFFFF"/>
                        </a:solidFill>
                        <a:latin typeface="Nexa Book"/>
                      </a:rPr>
                      <a:t>2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5371231970161895</c:v>
                </c:pt>
                <c:pt idx="1">
                  <c:v>0.24256394400776982</c:v>
                </c:pt>
                <c:pt idx="2">
                  <c:v>0.2352471856254272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La Vache Qui Rit</c:v>
                </c:pt>
              </c:strCache>
            </c:strRef>
          </c:tx>
          <c:spPr>
            <a:solidFill>
              <a:srgbClr val="006C6D"/>
            </a:solidFill>
            <a:ln>
              <a:solidFill>
                <a:schemeClr val="bg1"/>
              </a:solidFill>
            </a:ln>
            <a:effectLst/>
          </c:spPr>
          <c:invertIfNegative val="0"/>
          <c:dLbls>
            <c:dLbl>
              <c:idx val="0"/>
              <c:tx>
                <c:rich>
                  <a:bodyPr/>
                  <a:lstStyle/>
                  <a:p>
                    <a:r>
                      <a:rPr sz="800">
                        <a:solidFill>
                          <a:srgbClr val="FFFFFF"/>
                        </a:solidFill>
                        <a:latin typeface="Nexa Book"/>
                      </a:rPr>
                      <a:t>26%</a:t>
                    </a:r>
                  </a:p>
                </c:rich>
              </c:tx>
              <c:showLegendKey val="0"/>
              <c:showVal val="1"/>
              <c:showCatName val="0"/>
              <c:showSerName val="0"/>
              <c:showPercent val="0"/>
              <c:showBubbleSize val="0"/>
            </c:dLbl>
            <c:dLbl>
              <c:idx val="1"/>
              <c:tx>
                <c:rich>
                  <a:bodyPr/>
                  <a:lstStyle/>
                  <a:p>
                    <a:r>
                      <a:rPr sz="800">
                        <a:solidFill>
                          <a:srgbClr val="FFFFFF"/>
                        </a:solidFill>
                        <a:latin typeface="Nexa Book"/>
                      </a:rPr>
                      <a:t>28%</a:t>
                    </a:r>
                  </a:p>
                </c:rich>
              </c:tx>
              <c:showLegendKey val="0"/>
              <c:showVal val="1"/>
              <c:showCatName val="0"/>
              <c:showSerName val="0"/>
              <c:showPercent val="0"/>
              <c:showBubbleSize val="0"/>
            </c:dLbl>
            <c:dLbl>
              <c:idx val="2"/>
              <c:tx>
                <c:rich>
                  <a:bodyPr/>
                  <a:lstStyle/>
                  <a:p>
                    <a:r>
                      <a:rPr sz="800">
                        <a:solidFill>
                          <a:srgbClr val="FFFFFF"/>
                        </a:solidFill>
                        <a:latin typeface="Nexa Book"/>
                      </a:rPr>
                      <a:t>3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6280461912711667</c:v>
                </c:pt>
                <c:pt idx="1">
                  <c:v>0.2780847816218201</c:v>
                </c:pt>
                <c:pt idx="2">
                  <c:v>0.29620018988338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Mini Babybel</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803338485094617</c:v>
                </c:pt>
                <c:pt idx="1">
                  <c:v>0.2745487300735395</c:v>
                </c:pt>
                <c:pt idx="2">
                  <c:v>0.24647369496165436</c:v>
                </c:pt>
              </c:numCache>
            </c:numRef>
          </c:val>
          <c:extLst>
            <c:ext xmlns:c16="http://schemas.microsoft.com/office/drawing/2014/chart" uri="{C3380CC4-5D6E-409C-BE32-E72D297353CC}">
              <c16:uniqueId val="{00000000-C587-4D25-9FAB-90188F724A36}"/>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20%</a:t>
                    </a:r>
                  </a:p>
                </c:rich>
              </c:tx>
              <c:showLegendKey val="0"/>
              <c:showVal val="1"/>
              <c:showCatName val="0"/>
              <c:showSerName val="0"/>
              <c:showPercent val="0"/>
              <c:showBubbleSize val="0"/>
            </c:dLbl>
            <c:dLbl>
              <c:idx val="2"/>
              <c:tx>
                <c:rich>
                  <a:bodyPr/>
                  <a:lstStyle/>
                  <a:p>
                    <a:r>
                      <a:rPr sz="800">
                        <a:solidFill>
                          <a:srgbClr val="FFFFFF"/>
                        </a:solidFill>
                        <a:latin typeface="Nexa Book"/>
                      </a:rPr>
                      <a:t>2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20314921266180272</c:v>
                </c:pt>
                <c:pt idx="1">
                  <c:v>0.20480254429687053</c:v>
                </c:pt>
                <c:pt idx="2">
                  <c:v>0.2220789295295294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9710533488370067</c:v>
                </c:pt>
                <c:pt idx="1">
                  <c:v>0.2835586636086876</c:v>
                </c:pt>
                <c:pt idx="2">
                  <c:v>0.27196979501725127</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La Vache Qui Rit</c:v>
                </c:pt>
              </c:strCache>
            </c:strRef>
          </c:tx>
          <c:spPr>
            <a:solidFill>
              <a:srgbClr val="006C6D"/>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965759396197711</c:v>
                </c:pt>
                <c:pt idx="1">
                  <c:v>0.325784561565323</c:v>
                </c:pt>
                <c:pt idx="2">
                  <c:v>0.337518934719209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Mini Babybel</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34260321171511</c:v>
                </c:pt>
                <c:pt idx="1">
                  <c:v>0.20550226154802484</c:v>
                </c:pt>
                <c:pt idx="2">
                  <c:v>0.17903781576850153</c:v>
                </c:pt>
              </c:numCache>
            </c:numRef>
          </c:val>
          <c:extLst>
            <c:ext xmlns:c16="http://schemas.microsoft.com/office/drawing/2014/chart" uri="{C3380CC4-5D6E-409C-BE32-E72D297353CC}">
              <c16:uniqueId val="{00000000-E8ED-4355-AB33-141417161D1C}"/>
            </c:ext>
          </c:extLst>
        </c:ser>
        <c:ser>
          <c:idx val="3"/>
          <c:order val="3"/>
          <c:tx>
            <c:strRef>
              <c:f>Sheet1!$E$1</c:f>
              <c:strCache>
                <c:ptCount val="1"/>
                <c:pt idx="0">
                  <c:v>Kiri</c:v>
                </c:pt>
              </c:strCache>
            </c:strRef>
          </c:tx>
          <c:spPr>
            <a:solidFill>
              <a:srgbClr val="7ECAC4"/>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0.19289269337937714</c:v>
                </c:pt>
                <c:pt idx="1">
                  <c:v>0.18515451327796464</c:v>
                </c:pt>
                <c:pt idx="2">
                  <c:v>0.21147345449503735</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2%</a:t>
                    </a:r>
                  </a:p>
                </c:rich>
              </c:tx>
              <c:showLegendKey val="0"/>
              <c:showVal val="1"/>
              <c:showCatName val="0"/>
              <c:showSerName val="0"/>
              <c:showPercent val="0"/>
              <c:showBubbleSize val="0"/>
            </c:dLbl>
            <c:dLbl>
              <c:idx val="1"/>
              <c:tx>
                <c:rich>
                  <a:bodyPr/>
                  <a:lstStyle/>
                  <a:p>
                    <a:r>
                      <a:rPr sz="800">
                        <a:solidFill>
                          <a:srgbClr val="FFFFFF"/>
                        </a:solidFill>
                        <a:latin typeface="Nexa Book"/>
                      </a:rPr>
                      <a:t>51%</a:t>
                    </a:r>
                  </a:p>
                </c:rich>
              </c:tx>
              <c:showLegendKey val="0"/>
              <c:showVal val="1"/>
              <c:showCatName val="0"/>
              <c:showSerName val="0"/>
              <c:showPercent val="0"/>
              <c:showBubbleSize val="0"/>
            </c:dLbl>
            <c:dLbl>
              <c:idx val="2"/>
              <c:tx>
                <c:rich>
                  <a:bodyPr/>
                  <a:lstStyle/>
                  <a:p>
                    <a:r>
                      <a:rPr sz="800">
                        <a:solidFill>
                          <a:srgbClr val="FFFFFF"/>
                        </a:solidFill>
                        <a:latin typeface="Nexa Book"/>
                      </a:rPr>
                      <a:t>5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211741309893683</c:v>
                </c:pt>
                <c:pt idx="1">
                  <c:v>0.5097389553720556</c:v>
                </c:pt>
                <c:pt idx="2">
                  <c:v>0.5131147185431246</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St More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712609930477698</c:v>
                </c:pt>
                <c:pt idx="1">
                  <c:v>0.2721550772372144</c:v>
                </c:pt>
                <c:pt idx="2">
                  <c:v>0.2913612947281928</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rivate Label</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1%</a:t>
                    </a:r>
                  </a:p>
                </c:rich>
              </c:tx>
              <c:showLegendKey val="0"/>
              <c:showVal val="1"/>
              <c:showCatName val="0"/>
              <c:showSerName val="0"/>
              <c:showPercent val="0"/>
              <c:showBubbleSize val="0"/>
            </c:dLbl>
            <c:dLbl>
              <c:idx val="1"/>
              <c:tx>
                <c:rich>
                  <a:bodyPr/>
                  <a:lstStyle/>
                  <a:p>
                    <a:r>
                      <a:rPr sz="800">
                        <a:solidFill>
                          <a:srgbClr val="FFFFFF"/>
                        </a:solidFill>
                        <a:latin typeface="Nexa Book"/>
                      </a:rPr>
                      <a:t>22%</a:t>
                    </a:r>
                  </a:p>
                </c:rich>
              </c:tx>
              <c:showLegendKey val="0"/>
              <c:showVal val="1"/>
              <c:showCatName val="0"/>
              <c:showSerName val="0"/>
              <c:showPercent val="0"/>
              <c:showBubbleSize val="0"/>
            </c:dLbl>
            <c:dLbl>
              <c:idx val="2"/>
              <c:tx>
                <c:rich>
                  <a:bodyPr/>
                  <a:lstStyle/>
                  <a:p>
                    <a:r>
                      <a:rPr sz="800">
                        <a:solidFill>
                          <a:srgbClr val="FFFFFF"/>
                        </a:solidFill>
                        <a:latin typeface="Nexa Book"/>
                      </a:rPr>
                      <a:t>2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0756487596286197</c:v>
                </c:pt>
                <c:pt idx="1">
                  <c:v>0.21810596739073007</c:v>
                </c:pt>
                <c:pt idx="2">
                  <c:v>0.1955239867286825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656908377066674</c:v>
                </c:pt>
                <c:pt idx="1">
                  <c:v>0.4492499097128584</c:v>
                </c:pt>
                <c:pt idx="2">
                  <c:v>0.4588509215114854</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St More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610430855893375</c:v>
                </c:pt>
                <c:pt idx="1">
                  <c:v>0.23475125495265559</c:v>
                </c:pt>
                <c:pt idx="2">
                  <c:v>0.2553195959860583</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rivate Label</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30%</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3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982048537343988</c:v>
                </c:pt>
                <c:pt idx="1">
                  <c:v>0.31599883533448603</c:v>
                </c:pt>
                <c:pt idx="2">
                  <c:v>0.2858294825024562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56%</a:t>
                    </a:r>
                  </a:p>
                </c:rich>
              </c:tx>
              <c:showLegendKey val="0"/>
              <c:showVal val="1"/>
              <c:showCatName val="0"/>
              <c:showSerName val="0"/>
              <c:showPercent val="0"/>
              <c:showBubbleSize val="0"/>
            </c:dLbl>
            <c:dLbl>
              <c:idx val="2"/>
              <c:tx>
                <c:rich>
                  <a:bodyPr/>
                  <a:lstStyle/>
                  <a:p>
                    <a:r>
                      <a:rPr sz="800">
                        <a:solidFill>
                          <a:srgbClr val="FFFFFF"/>
                        </a:solidFill>
                        <a:latin typeface="Nexa Book"/>
                      </a:rPr>
                      <a:t>5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756769833805184</c:v>
                </c:pt>
                <c:pt idx="1">
                  <c:v>0.5649566309839501</c:v>
                </c:pt>
                <c:pt idx="2">
                  <c:v>0.5819692278590405</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St More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7%</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687675149746255</c:v>
                </c:pt>
                <c:pt idx="1">
                  <c:v>0.2706103447859732</c:v>
                </c:pt>
                <c:pt idx="2">
                  <c:v>0.282582143961814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rivate Label</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6%</a:t>
                    </a:r>
                  </a:p>
                </c:rich>
              </c:tx>
              <c:showLegendKey val="0"/>
              <c:showVal val="1"/>
              <c:showCatName val="0"/>
              <c:showSerName val="0"/>
              <c:showPercent val="0"/>
              <c:showBubbleSize val="0"/>
            </c:dLbl>
            <c:dLbl>
              <c:idx val="1"/>
              <c:tx>
                <c:rich>
                  <a:bodyPr/>
                  <a:lstStyle/>
                  <a:p>
                    <a:r>
                      <a:rPr sz="800">
                        <a:solidFill>
                          <a:srgbClr val="FFFFFF"/>
                        </a:solidFill>
                        <a:latin typeface="Nexa Book"/>
                      </a:rPr>
                      <a:t>16%</a:t>
                    </a:r>
                  </a:p>
                </c:rich>
              </c:tx>
              <c:showLegendKey val="0"/>
              <c:showVal val="1"/>
              <c:showCatName val="0"/>
              <c:showSerName val="0"/>
              <c:showPercent val="0"/>
              <c:showBubbleSize val="0"/>
            </c:dLbl>
            <c:dLbl>
              <c:idx val="2"/>
              <c:tx>
                <c:rich>
                  <a:bodyPr/>
                  <a:lstStyle/>
                  <a:p>
                    <a:r>
                      <a:rPr sz="800">
                        <a:solidFill>
                          <a:srgbClr val="FFFFFF"/>
                        </a:solidFill>
                        <a:latin typeface="Nexa Book"/>
                      </a:rPr>
                      <a:t>14%</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555555016448562</c:v>
                </c:pt>
                <c:pt idx="1">
                  <c:v>0.1644330242300767</c:v>
                </c:pt>
                <c:pt idx="2">
                  <c:v>0.13544862817914488</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5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5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459401102996554</c:v>
                </c:pt>
                <c:pt idx="1">
                  <c:v>0.5279974618259535</c:v>
                </c:pt>
                <c:pt idx="2">
                  <c:v>0.5519437908889682</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St More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349493851159465</c:v>
                </c:pt>
                <c:pt idx="1">
                  <c:v>0.23585187646496603</c:v>
                </c:pt>
                <c:pt idx="2">
                  <c:v>0.2514418138480116</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rivate Label</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0%</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1911050458439812</c:v>
                </c:pt>
                <c:pt idx="1">
                  <c:v>0.23615066170908042</c:v>
                </c:pt>
                <c:pt idx="2">
                  <c:v>0.19661439526302013</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55%</a:t>
                    </a:r>
                  </a:p>
                </c:rich>
              </c:tx>
              <c:showLegendKey val="0"/>
              <c:showVal val="1"/>
              <c:showCatName val="0"/>
              <c:showSerName val="0"/>
              <c:showPercent val="0"/>
              <c:showBubbleSize val="0"/>
            </c:dLbl>
            <c:dLbl>
              <c:idx val="1"/>
              <c:tx>
                <c:rich>
                  <a:bodyPr/>
                  <a:lstStyle/>
                  <a:p>
                    <a:r>
                      <a:rPr sz="800">
                        <a:solidFill>
                          <a:srgbClr val="FFFFFF"/>
                        </a:solidFill>
                        <a:latin typeface="Nexa Book"/>
                      </a:rPr>
                      <a:t>53%</a:t>
                    </a:r>
                  </a:p>
                </c:rich>
              </c:tx>
              <c:showLegendKey val="0"/>
              <c:showVal val="1"/>
              <c:showCatName val="0"/>
              <c:showSerName val="0"/>
              <c:showPercent val="0"/>
              <c:showBubbleSize val="0"/>
            </c:dLbl>
            <c:dLbl>
              <c:idx val="2"/>
              <c:tx>
                <c:rich>
                  <a:bodyPr/>
                  <a:lstStyle/>
                  <a:p>
                    <a:r>
                      <a:rPr sz="800">
                        <a:solidFill>
                          <a:srgbClr val="FFFFFF"/>
                        </a:solidFill>
                        <a:latin typeface="Nexa Book"/>
                      </a:rPr>
                      <a:t>5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5501369395695983</c:v>
                </c:pt>
                <c:pt idx="1">
                  <c:v>0.5323638794159354</c:v>
                </c:pt>
                <c:pt idx="2">
                  <c:v>0.522235015674133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St Moret</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29%</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803248914813743</c:v>
                </c:pt>
                <c:pt idx="1">
                  <c:v>0.28968573886699683</c:v>
                </c:pt>
                <c:pt idx="2">
                  <c:v>0.33226718144489625</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Private Label</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7%</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6953816894902735</c:v>
                </c:pt>
                <c:pt idx="1">
                  <c:v>0.1779503817170678</c:v>
                </c:pt>
                <c:pt idx="2">
                  <c:v>0.14549780288097067</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49%</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4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4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49301625725201836</c:v>
                </c:pt>
                <c:pt idx="1">
                  <c:v>0.47389092783899384</c:v>
                </c:pt>
                <c:pt idx="2">
                  <c:v>0.4775668842290616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St Moret</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3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25254969023594254</c:v>
                </c:pt>
                <c:pt idx="1">
                  <c:v>0.26452631056788234</c:v>
                </c:pt>
                <c:pt idx="2">
                  <c:v>0.3067389272173275</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Private Label</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2544340525120391</c:v>
                </c:pt>
                <c:pt idx="1">
                  <c:v>0.2615827615931238</c:v>
                </c:pt>
                <c:pt idx="2">
                  <c:v>0.2156941885536109</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8%</a:t>
                    </a:r>
                  </a:p>
                </c:rich>
              </c:tx>
              <c:showLegendKey val="0"/>
              <c:showVal val="1"/>
              <c:showCatName val="0"/>
              <c:showSerName val="0"/>
              <c:showPercent val="0"/>
              <c:showBubbleSize val="0"/>
            </c:dLbl>
            <c:dLbl>
              <c:idx val="1"/>
              <c:tx>
                <c:rich>
                  <a:bodyPr/>
                  <a:lstStyle/>
                  <a:p>
                    <a:r>
                      <a:rPr sz="800">
                        <a:solidFill>
                          <a:srgbClr val="FFFFFF"/>
                        </a:solidFill>
                        <a:latin typeface="Nexa Book"/>
                      </a:rPr>
                      <a:t>27%</a:t>
                    </a:r>
                  </a:p>
                </c:rich>
              </c:tx>
              <c:showLegendKey val="0"/>
              <c:showVal val="1"/>
              <c:showCatName val="0"/>
              <c:showSerName val="0"/>
              <c:showPercent val="0"/>
              <c:showBubbleSize val="0"/>
            </c:dLbl>
            <c:dLbl>
              <c:idx val="2"/>
              <c:tx>
                <c:rich>
                  <a:bodyPr/>
                  <a:lstStyle/>
                  <a:p>
                    <a:r>
                      <a:rPr sz="800">
                        <a:solidFill>
                          <a:srgbClr val="FFFFFF"/>
                        </a:solidFill>
                        <a:latin typeface="Nexa Book"/>
                      </a:rPr>
                      <a:t>28%</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837724278145378</c:v>
                </c:pt>
                <c:pt idx="1">
                  <c:v>0.2698631499069178</c:v>
                </c:pt>
                <c:pt idx="2">
                  <c:v>0.27629360454318574</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61%</a:t>
                    </a:r>
                  </a:p>
                </c:rich>
              </c:tx>
              <c:showLegendKey val="0"/>
              <c:showVal val="1"/>
              <c:showCatName val="0"/>
              <c:showSerName val="0"/>
              <c:showPercent val="0"/>
              <c:showBubbleSize val="0"/>
            </c:dLbl>
            <c:dLbl>
              <c:idx val="2"/>
              <c:tx>
                <c:rich>
                  <a:bodyPr/>
                  <a:lstStyle/>
                  <a:p>
                    <a:r>
                      <a:rPr sz="800">
                        <a:solidFill>
                          <a:srgbClr val="FFFFFF"/>
                        </a:solidFill>
                        <a:latin typeface="Nexa Book"/>
                      </a:rPr>
                      <a:t>60%</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782987776901738</c:v>
                </c:pt>
                <c:pt idx="1">
                  <c:v>0.6072962305084845</c:v>
                </c:pt>
                <c:pt idx="2">
                  <c:v>0.5997887510889337</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Galbani</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4%</a:t>
                    </a:r>
                  </a:p>
                </c:rich>
              </c:tx>
              <c:showLegendKey val="0"/>
              <c:showVal val="1"/>
              <c:showCatName val="0"/>
              <c:showSerName val="0"/>
              <c:showPercent val="0"/>
              <c:showBubbleSize val="0"/>
            </c:dLbl>
            <c:dLbl>
              <c:idx val="1"/>
              <c:tx>
                <c:rich>
                  <a:bodyPr/>
                  <a:lstStyle/>
                  <a:p>
                    <a:r>
                      <a:rPr sz="800">
                        <a:solidFill>
                          <a:srgbClr val="FFFFFF"/>
                        </a:solidFill>
                        <a:latin typeface="Nexa Book"/>
                      </a:rPr>
                      <a:t>12%</a:t>
                    </a:r>
                  </a:p>
                </c:rich>
              </c:tx>
              <c:showLegendKey val="0"/>
              <c:showVal val="1"/>
              <c:showCatName val="0"/>
              <c:showSerName val="0"/>
              <c:showPercent val="0"/>
              <c:showBubbleSize val="0"/>
            </c:dLbl>
            <c:dLbl>
              <c:idx val="2"/>
              <c:tx>
                <c:rich>
                  <a:bodyPr/>
                  <a:lstStyle/>
                  <a:p>
                    <a:r>
                      <a:rPr sz="800">
                        <a:solidFill>
                          <a:srgbClr val="FFFFFF"/>
                        </a:solidFill>
                        <a:latin typeface="Nexa Book"/>
                      </a:rPr>
                      <a:t>12%</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79287944952884</c:v>
                </c:pt>
                <c:pt idx="1">
                  <c:v>0.12284061958459776</c:v>
                </c:pt>
                <c:pt idx="2">
                  <c:v>0.12391764436788055</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a:solidFill>
                          <a:srgbClr val="FFFFFF"/>
                        </a:solidFill>
                      </a:rPr>
                      <a:t>1249.8</a:t>
                    </a:r>
                  </a:p>
                </c:rich>
              </c:tx>
              <c:showLegendKey val="0"/>
              <c:showVal val="1"/>
              <c:showCatName val="0"/>
              <c:showSerName val="0"/>
              <c:showPercent val="0"/>
              <c:showBubbleSize val="0"/>
            </c:dLbl>
            <c:dLbl>
              <c:idx val="1"/>
              <c:tx>
                <c:rich>
                  <a:bodyPr/>
                  <a:lstStyle/>
                  <a:p>
                    <a:r>
                      <a:rPr>
                        <a:solidFill>
                          <a:srgbClr val="FFFFFF"/>
                        </a:solidFill>
                      </a:rPr>
                      <a:t>1261.6</a:t>
                    </a:r>
                  </a:p>
                </c:rich>
              </c:tx>
              <c:showLegendKey val="0"/>
              <c:showVal val="1"/>
              <c:showCatName val="0"/>
              <c:showSerName val="0"/>
              <c:showPercent val="0"/>
              <c:showBubbleSize val="0"/>
            </c:dLbl>
            <c:dLbl>
              <c:idx val="2"/>
              <c:tx>
                <c:rich>
                  <a:bodyPr/>
                  <a:lstStyle/>
                  <a:p>
                    <a:r>
                      <a:rPr>
                        <a:solidFill>
                          <a:srgbClr val="FFFFFF"/>
                        </a:solidFill>
                      </a:rPr>
                      <a:t>795.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249.767789</c:v>
                </c:pt>
                <c:pt idx="1">
                  <c:v>1261.615333</c:v>
                </c:pt>
                <c:pt idx="2">
                  <c:v>795.69565</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a:solidFill>
                          <a:srgbClr val="FFFFFF"/>
                        </a:solidFill>
                      </a:rPr>
                      <a:t>1534.9</a:t>
                    </a:r>
                  </a:p>
                </c:rich>
              </c:tx>
              <c:showLegendKey val="0"/>
              <c:showVal val="1"/>
              <c:showCatName val="0"/>
              <c:showSerName val="0"/>
              <c:showPercent val="0"/>
              <c:showBubbleSize val="0"/>
            </c:dLbl>
            <c:dLbl>
              <c:idx val="1"/>
              <c:tx>
                <c:rich>
                  <a:bodyPr/>
                  <a:lstStyle/>
                  <a:p>
                    <a:r>
                      <a:rPr>
                        <a:solidFill>
                          <a:srgbClr val="FFFFFF"/>
                        </a:solidFill>
                      </a:rPr>
                      <a:t>1663.3</a:t>
                    </a:r>
                  </a:p>
                </c:rich>
              </c:tx>
              <c:showLegendKey val="0"/>
              <c:showVal val="1"/>
              <c:showCatName val="0"/>
              <c:showSerName val="0"/>
              <c:showPercent val="0"/>
              <c:showBubbleSize val="0"/>
            </c:dLbl>
            <c:dLbl>
              <c:idx val="2"/>
              <c:tx>
                <c:rich>
                  <a:bodyPr/>
                  <a:lstStyle/>
                  <a:p>
                    <a:r>
                      <a:rPr>
                        <a:solidFill>
                          <a:srgbClr val="FFFFFF"/>
                        </a:solidFill>
                      </a:rPr>
                      <a:t>1023.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1534.853614</c:v>
                </c:pt>
                <c:pt idx="1">
                  <c:v>1663.343003</c:v>
                </c:pt>
                <c:pt idx="2">
                  <c:v>1023.461472</c:v>
                </c:pt>
              </c:numCache>
            </c:numRef>
          </c:val>
          <c:extLst>
            <c:ext xmlns:c16="http://schemas.microsoft.com/office/drawing/2014/chart" uri="{C3380CC4-5D6E-409C-BE32-E72D297353CC}">
              <c16:uniqueId val="{00000000-4220-4928-A565-C068005E7386}"/>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tx>
                <c:rich>
                  <a:bodyPr/>
                  <a:lstStyle/>
                  <a:p>
                    <a:r>
                      <a:rPr>
                        <a:solidFill>
                          <a:srgbClr val="FFFFFF"/>
                        </a:solidFill>
                      </a:rPr>
                      <a:t>222.1</a:t>
                    </a:r>
                  </a:p>
                </c:rich>
              </c:tx>
              <c:showLegendKey val="0"/>
              <c:showVal val="1"/>
              <c:showCatName val="0"/>
              <c:showSerName val="0"/>
              <c:showPercent val="0"/>
              <c:showBubbleSize val="0"/>
            </c:dLbl>
            <c:dLbl>
              <c:idx val="1"/>
              <c:tx>
                <c:rich>
                  <a:bodyPr/>
                  <a:lstStyle/>
                  <a:p>
                    <a:r>
                      <a:rPr>
                        <a:solidFill>
                          <a:srgbClr val="FFFFFF"/>
                        </a:solidFill>
                      </a:rPr>
                      <a:t>227.7</a:t>
                    </a:r>
                  </a:p>
                </c:rich>
              </c:tx>
              <c:showLegendKey val="0"/>
              <c:showVal val="1"/>
              <c:showCatName val="0"/>
              <c:showSerName val="0"/>
              <c:showPercent val="0"/>
              <c:showBubbleSize val="0"/>
            </c:dLbl>
            <c:dLbl>
              <c:idx val="2"/>
              <c:tx>
                <c:rich>
                  <a:bodyPr/>
                  <a:lstStyle/>
                  <a:p>
                    <a:r>
                      <a:rPr>
                        <a:solidFill>
                          <a:srgbClr val="FFFFFF"/>
                        </a:solidFill>
                      </a:rPr>
                      <a:t>13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222.054354</c:v>
                </c:pt>
                <c:pt idx="1">
                  <c:v>227.742284</c:v>
                </c:pt>
                <c:pt idx="2">
                  <c:v>136.040208</c:v>
                </c:pt>
              </c:numCache>
            </c:numRef>
          </c:val>
          <c:extLst>
            <c:ext xmlns:c16="http://schemas.microsoft.com/office/drawing/2014/chart" uri="{C3380CC4-5D6E-409C-BE32-E72D297353CC}">
              <c16:uniqueId val="{00000000-4220-4928-A565-C068005E7386}"/>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tx>
                <c:rich>
                  <a:bodyPr/>
                  <a:lstStyle/>
                  <a:p>
                    <a:r>
                      <a:rPr>
                        <a:solidFill>
                          <a:srgbClr val="FFFFFF"/>
                        </a:solidFill>
                      </a:rPr>
                      <a:t>218.2</a:t>
                    </a:r>
                  </a:p>
                </c:rich>
              </c:tx>
              <c:showLegendKey val="0"/>
              <c:showVal val="1"/>
              <c:showCatName val="0"/>
              <c:showSerName val="0"/>
              <c:showPercent val="0"/>
              <c:showBubbleSize val="0"/>
            </c:dLbl>
            <c:dLbl>
              <c:idx val="1"/>
              <c:tx>
                <c:rich>
                  <a:bodyPr/>
                  <a:lstStyle/>
                  <a:p>
                    <a:r>
                      <a:rPr>
                        <a:solidFill>
                          <a:srgbClr val="FFFFFF"/>
                        </a:solidFill>
                      </a:rPr>
                      <a:t>206.7</a:t>
                    </a:r>
                  </a:p>
                </c:rich>
              </c:tx>
              <c:showLegendKey val="0"/>
              <c:showVal val="1"/>
              <c:showCatName val="0"/>
              <c:showSerName val="0"/>
              <c:showPercent val="0"/>
              <c:showBubbleSize val="0"/>
            </c:dLbl>
            <c:dLbl>
              <c:idx val="2"/>
              <c:tx>
                <c:rich>
                  <a:bodyPr/>
                  <a:lstStyle/>
                  <a:p>
                    <a:r>
                      <a:rPr>
                        <a:solidFill>
                          <a:srgbClr val="FFFFFF"/>
                        </a:solidFill>
                      </a:rPr>
                      <a:t>114.7</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18.22429</c:v>
                </c:pt>
                <c:pt idx="1">
                  <c:v>206.668985</c:v>
                </c:pt>
                <c:pt idx="2">
                  <c:v>114.748862</c:v>
                </c:pt>
              </c:numCache>
            </c:numRef>
          </c:val>
          <c:extLst>
            <c:ext xmlns:c16="http://schemas.microsoft.com/office/drawing/2014/chart" uri="{C3380CC4-5D6E-409C-BE32-E72D297353CC}">
              <c16:uniqueId val="{00000000-4220-4928-A565-C068005E7386}"/>
            </c:ext>
          </c:extLst>
        </c:ser>
        <c:ser>
          <c:idx val="4"/>
          <c:order val="4"/>
          <c:tx>
            <c:strRef>
              <c:f>Sheet1!$F$1</c:f>
              <c:strCache>
                <c:ptCount val="1"/>
                <c:pt idx="0">
                  <c:v>Caprice Des Dieux</c:v>
                </c:pt>
              </c:strCache>
            </c:strRef>
          </c:tx>
          <c:spPr>
            <a:solidFill>
              <a:srgbClr val="575555"/>
            </a:solidFill>
            <a:ln>
              <a:solidFill>
                <a:schemeClr val="bg1"/>
              </a:solidFill>
            </a:ln>
            <a:effectLst/>
          </c:spPr>
          <c:invertIfNegative val="0"/>
          <c:dLbls>
            <c:dLbl>
              <c:idx val="0"/>
              <c:tx>
                <c:rich>
                  <a:bodyPr/>
                  <a:lstStyle/>
                  <a:p>
                    <a:r>
                      <a:rPr>
                        <a:solidFill>
                          <a:srgbClr val="FFFFFF"/>
                        </a:solidFill>
                      </a:rPr>
                      <a:t>180.2</a:t>
                    </a:r>
                  </a:p>
                </c:rich>
              </c:tx>
              <c:showLegendKey val="0"/>
              <c:showVal val="1"/>
              <c:showCatName val="0"/>
              <c:showSerName val="0"/>
              <c:showPercent val="0"/>
              <c:showBubbleSize val="0"/>
            </c:dLbl>
            <c:dLbl>
              <c:idx val="1"/>
              <c:tx>
                <c:rich>
                  <a:bodyPr/>
                  <a:lstStyle/>
                  <a:p>
                    <a:r>
                      <a:rPr>
                        <a:solidFill>
                          <a:srgbClr val="FFFFFF"/>
                        </a:solidFill>
                      </a:rPr>
                      <a:t>183.8</a:t>
                    </a:r>
                  </a:p>
                </c:rich>
              </c:tx>
              <c:showLegendKey val="0"/>
              <c:showVal val="1"/>
              <c:showCatName val="0"/>
              <c:showSerName val="0"/>
              <c:showPercent val="0"/>
              <c:showBubbleSize val="0"/>
            </c:dLbl>
            <c:dLbl>
              <c:idx val="2"/>
              <c:tx>
                <c:rich>
                  <a:bodyPr/>
                  <a:lstStyle/>
                  <a:p>
                    <a:r>
                      <a:rPr>
                        <a:solidFill>
                          <a:srgbClr val="FFFFFF"/>
                        </a:solidFill>
                      </a:rPr>
                      <a:t>108.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180.204726</c:v>
                </c:pt>
                <c:pt idx="1">
                  <c:v>183.821452</c:v>
                </c:pt>
                <c:pt idx="2">
                  <c:v>108.574698</c:v>
                </c:pt>
              </c:numCache>
            </c:numRef>
          </c:val>
          <c:extLst>
            <c:ext xmlns:c16="http://schemas.microsoft.com/office/drawing/2014/chart" uri="{C3380CC4-5D6E-409C-BE32-E72D297353CC}">
              <c16:uniqueId val="{00000000-4220-4928-A565-C068005E7386}"/>
            </c:ext>
          </c:extLst>
        </c:ser>
        <c:ser>
          <c:idx val="5"/>
          <c:order val="5"/>
          <c:tx>
            <c:strRef>
              <c:f>Sheet1!$G$1</c:f>
              <c:strCache>
                <c:ptCount val="1"/>
                <c:pt idx="0">
                  <c:v>St Moret</c:v>
                </c:pt>
              </c:strCache>
            </c:strRef>
          </c:tx>
          <c:spPr>
            <a:solidFill>
              <a:srgbClr val="575555"/>
            </a:solidFill>
            <a:ln>
              <a:solidFill>
                <a:schemeClr val="bg1"/>
              </a:solidFill>
            </a:ln>
            <a:effectLst/>
          </c:spPr>
          <c:invertIfNegative val="0"/>
          <c:dLbls>
            <c:dLbl>
              <c:idx val="0"/>
              <c:tx>
                <c:rich>
                  <a:bodyPr/>
                  <a:lstStyle/>
                  <a:p>
                    <a:r>
                      <a:rPr>
                        <a:solidFill>
                          <a:srgbClr val="FFFFFF"/>
                        </a:solidFill>
                      </a:rPr>
                      <a:t>161.5</a:t>
                    </a:r>
                  </a:p>
                </c:rich>
              </c:tx>
              <c:showLegendKey val="0"/>
              <c:showVal val="1"/>
              <c:showCatName val="0"/>
              <c:showSerName val="0"/>
              <c:showPercent val="0"/>
              <c:showBubbleSize val="0"/>
            </c:dLbl>
            <c:dLbl>
              <c:idx val="1"/>
              <c:tx>
                <c:rich>
                  <a:bodyPr/>
                  <a:lstStyle/>
                  <a:p>
                    <a:r>
                      <a:rPr>
                        <a:solidFill>
                          <a:srgbClr val="FFFFFF"/>
                        </a:solidFill>
                      </a:rPr>
                      <a:t>172.3</a:t>
                    </a:r>
                  </a:p>
                </c:rich>
              </c:tx>
              <c:showLegendKey val="0"/>
              <c:showVal val="1"/>
              <c:showCatName val="0"/>
              <c:showSerName val="0"/>
              <c:showPercent val="0"/>
              <c:showBubbleSize val="0"/>
            </c:dLbl>
            <c:dLbl>
              <c:idx val="2"/>
              <c:tx>
                <c:rich>
                  <a:bodyPr/>
                  <a:lstStyle/>
                  <a:p>
                    <a:r>
                      <a:rPr>
                        <a:solidFill>
                          <a:srgbClr val="FFFFFF"/>
                        </a:solidFill>
                      </a:rPr>
                      <a:t>11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161.484844</c:v>
                </c:pt>
                <c:pt idx="1">
                  <c:v>172.27969</c:v>
                </c:pt>
                <c:pt idx="2">
                  <c:v>114.214057</c:v>
                </c:pt>
              </c:numCache>
            </c:numRef>
          </c:val>
          <c:extLst>
            <c:ext xmlns:c16="http://schemas.microsoft.com/office/drawing/2014/chart" uri="{C3380CC4-5D6E-409C-BE32-E72D297353CC}">
              <c16:uniqueId val="{00000000-4220-4928-A565-C068005E7386}"/>
            </c:ext>
          </c:extLst>
        </c:ser>
        <c:ser>
          <c:idx val="6"/>
          <c:order val="6"/>
          <c:tx>
            <c:strRef>
              <c:f>Sheet1!$H$1</c:f>
              <c:strCache>
                <c:ptCount val="1"/>
                <c:pt idx="0">
                  <c:v>Coeur De Lion</c:v>
                </c:pt>
              </c:strCache>
            </c:strRef>
          </c:tx>
          <c:spPr>
            <a:solidFill>
              <a:srgbClr val="575555"/>
            </a:solidFill>
            <a:ln>
              <a:solidFill>
                <a:schemeClr val="bg1"/>
              </a:solidFill>
            </a:ln>
            <a:effectLst/>
          </c:spPr>
          <c:invertIfNegative val="0"/>
          <c:dLbls>
            <c:dLbl>
              <c:idx val="0"/>
              <c:tx>
                <c:rich>
                  <a:bodyPr/>
                  <a:lstStyle/>
                  <a:p>
                    <a:r>
                      <a:rPr>
                        <a:solidFill>
                          <a:srgbClr val="FFFFFF"/>
                        </a:solidFill>
                      </a:rPr>
                      <a:t>154.1</a:t>
                    </a:r>
                  </a:p>
                </c:rich>
              </c:tx>
              <c:showLegendKey val="0"/>
              <c:showVal val="1"/>
              <c:showCatName val="0"/>
              <c:showSerName val="0"/>
              <c:showPercent val="0"/>
              <c:showBubbleSize val="0"/>
            </c:dLbl>
            <c:dLbl>
              <c:idx val="1"/>
              <c:tx>
                <c:rich>
                  <a:bodyPr/>
                  <a:lstStyle/>
                  <a:p>
                    <a:r>
                      <a:rPr>
                        <a:solidFill>
                          <a:srgbClr val="FFFFFF"/>
                        </a:solidFill>
                      </a:rPr>
                      <a:t>152.2</a:t>
                    </a:r>
                  </a:p>
                </c:rich>
              </c:tx>
              <c:showLegendKey val="0"/>
              <c:showVal val="1"/>
              <c:showCatName val="0"/>
              <c:showSerName val="0"/>
              <c:showPercent val="0"/>
              <c:showBubbleSize val="0"/>
            </c:dLbl>
            <c:dLbl>
              <c:idx val="2"/>
              <c:tx>
                <c:rich>
                  <a:bodyPr/>
                  <a:lstStyle/>
                  <a:p>
                    <a:r>
                      <a:rPr>
                        <a:solidFill>
                          <a:srgbClr val="FFFFFF"/>
                        </a:solidFill>
                      </a:rPr>
                      <a:t>8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54.138542</c:v>
                </c:pt>
                <c:pt idx="1">
                  <c:v>152.202791</c:v>
                </c:pt>
                <c:pt idx="2">
                  <c:v>82.500922</c:v>
                </c:pt>
              </c:numCache>
            </c:numRef>
          </c:val>
          <c:extLst>
            <c:ext xmlns:c16="http://schemas.microsoft.com/office/drawing/2014/chart" uri="{C3380CC4-5D6E-409C-BE32-E72D297353CC}">
              <c16:uniqueId val="{00000000-4220-4928-A565-C068005E7386}"/>
            </c:ext>
          </c:extLst>
        </c:ser>
        <c:ser>
          <c:idx val="7"/>
          <c:order val="7"/>
          <c:tx>
            <c:strRef>
              <c:f>Sheet1!$I$1</c:f>
              <c:strCache>
                <c:ptCount val="1"/>
                <c:pt idx="0">
                  <c:v>Mini Babybel</c:v>
                </c:pt>
              </c:strCache>
            </c:strRef>
          </c:tx>
          <c:spPr>
            <a:solidFill>
              <a:srgbClr val="575555"/>
            </a:solidFill>
            <a:ln>
              <a:solidFill>
                <a:schemeClr val="bg1"/>
              </a:solidFill>
            </a:ln>
            <a:effectLst/>
          </c:spPr>
          <c:invertIfNegative val="0"/>
          <c:dLbls>
            <c:dLbl>
              <c:idx val="0"/>
              <c:tx>
                <c:rich>
                  <a:bodyPr/>
                  <a:lstStyle/>
                  <a:p>
                    <a:r>
                      <a:rPr>
                        <a:solidFill>
                          <a:srgbClr val="FFFFFF"/>
                        </a:solidFill>
                      </a:rPr>
                      <a:t>137.8</a:t>
                    </a:r>
                  </a:p>
                </c:rich>
              </c:tx>
              <c:showLegendKey val="0"/>
              <c:showVal val="1"/>
              <c:showCatName val="0"/>
              <c:showSerName val="0"/>
              <c:showPercent val="0"/>
              <c:showBubbleSize val="0"/>
            </c:dLbl>
            <c:dLbl>
              <c:idx val="1"/>
              <c:tx>
                <c:rich>
                  <a:bodyPr/>
                  <a:lstStyle/>
                  <a:p>
                    <a:r>
                      <a:rPr>
                        <a:solidFill>
                          <a:srgbClr val="FFFFFF"/>
                        </a:solidFill>
                      </a:rPr>
                      <a:t>139.5</a:t>
                    </a:r>
                  </a:p>
                </c:rich>
              </c:tx>
              <c:showLegendKey val="0"/>
              <c:showVal val="1"/>
              <c:showCatName val="0"/>
              <c:showSerName val="0"/>
              <c:showPercent val="0"/>
              <c:showBubbleSize val="0"/>
            </c:dLbl>
            <c:dLbl>
              <c:idx val="2"/>
              <c:tx>
                <c:rich>
                  <a:bodyPr/>
                  <a:lstStyle/>
                  <a:p>
                    <a:r>
                      <a:rPr>
                        <a:solidFill>
                          <a:srgbClr val="FFFFFF"/>
                        </a:solidFill>
                      </a:rPr>
                      <a:t>77.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137.785151</c:v>
                </c:pt>
                <c:pt idx="1">
                  <c:v>139.53867</c:v>
                </c:pt>
                <c:pt idx="2">
                  <c:v>77.302591</c:v>
                </c:pt>
              </c:numCache>
            </c:numRef>
          </c:val>
          <c:extLst>
            <c:ext xmlns:c16="http://schemas.microsoft.com/office/drawing/2014/chart" uri="{C3380CC4-5D6E-409C-BE32-E72D297353CC}">
              <c16:uniqueId val="{00000000-4220-4928-A565-C068005E7386}"/>
            </c:ext>
          </c:extLst>
        </c:ser>
        <c:ser>
          <c:idx val="8"/>
          <c:order val="8"/>
          <c:tx>
            <c:strRef>
              <c:f>Sheet1!$J$1</c:f>
              <c:strCache>
                <c:ptCount val="1"/>
                <c:pt idx="0">
                  <c:v>La Vache Qui Rit</c:v>
                </c:pt>
              </c:strCache>
            </c:strRef>
          </c:tx>
          <c:spPr>
            <a:solidFill>
              <a:srgbClr val="B2DFDC"/>
            </a:solidFill>
            <a:ln>
              <a:solidFill>
                <a:schemeClr val="bg1"/>
              </a:solidFill>
            </a:ln>
            <a:effectLst/>
          </c:spPr>
          <c:invertIfNegative val="0"/>
          <c:dLbls>
            <c:dLbl>
              <c:idx val="0"/>
              <c:tx>
                <c:rich>
                  <a:bodyPr/>
                  <a:lstStyle/>
                  <a:p>
                    <a:r>
                      <a:rPr>
                        <a:solidFill>
                          <a:srgbClr val="FFFFFF"/>
                        </a:solidFill>
                      </a:rPr>
                      <a:t>125.2</a:t>
                    </a:r>
                  </a:p>
                </c:rich>
              </c:tx>
              <c:showLegendKey val="0"/>
              <c:showVal val="1"/>
              <c:showCatName val="0"/>
              <c:showSerName val="0"/>
              <c:showPercent val="0"/>
              <c:showBubbleSize val="0"/>
            </c:dLbl>
            <c:dLbl>
              <c:idx val="1"/>
              <c:tx>
                <c:rich>
                  <a:bodyPr/>
                  <a:lstStyle/>
                  <a:p>
                    <a:r>
                      <a:rPr>
                        <a:solidFill>
                          <a:srgbClr val="FFFFFF"/>
                        </a:solidFill>
                      </a:rPr>
                      <a:t>138.2</a:t>
                    </a:r>
                  </a:p>
                </c:rich>
              </c:tx>
              <c:showLegendKey val="0"/>
              <c:showVal val="1"/>
              <c:showCatName val="0"/>
              <c:showSerName val="0"/>
              <c:showPercent val="0"/>
              <c:showBubbleSize val="0"/>
            </c:dLbl>
            <c:dLbl>
              <c:idx val="2"/>
              <c:tx>
                <c:rich>
                  <a:bodyPr/>
                  <a:lstStyle/>
                  <a:p>
                    <a:r>
                      <a:rPr>
                        <a:solidFill>
                          <a:srgbClr val="FFFFFF"/>
                        </a:solidFill>
                      </a:rPr>
                      <a:t>86.0</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25.196494</c:v>
                </c:pt>
                <c:pt idx="1">
                  <c:v>138.157655</c:v>
                </c:pt>
                <c:pt idx="2">
                  <c:v>85.991637</c:v>
                </c:pt>
              </c:numCache>
            </c:numRef>
          </c:val>
          <c:extLst>
            <c:ext xmlns:c16="http://schemas.microsoft.com/office/drawing/2014/chart" uri="{C3380CC4-5D6E-409C-BE32-E72D297353CC}">
              <c16:uniqueId val="{00000000-4220-4928-A565-C068005E7386}"/>
            </c:ext>
          </c:extLst>
        </c:ser>
        <c:ser>
          <c:idx val="9"/>
          <c:order val="9"/>
          <c:tx>
            <c:strRef>
              <c:f>Sheet1!$K$1</c:f>
              <c:strCache>
                <c:ptCount val="1"/>
                <c:pt idx="0">
                  <c:v>Galbani</c:v>
                </c:pt>
              </c:strCache>
            </c:strRef>
          </c:tx>
          <c:spPr>
            <a:solidFill>
              <a:srgbClr val="575555"/>
            </a:solidFill>
            <a:ln>
              <a:solidFill>
                <a:schemeClr val="bg1"/>
              </a:solidFill>
            </a:ln>
            <a:effectLst/>
          </c:spPr>
          <c:invertIfNegative val="0"/>
          <c:dLbls>
            <c:dLbl>
              <c:idx val="0"/>
              <c:tx>
                <c:rich>
                  <a:bodyPr/>
                  <a:lstStyle/>
                  <a:p>
                    <a:r>
                      <a:rPr>
                        <a:solidFill>
                          <a:srgbClr val="FFFFFF"/>
                        </a:solidFill>
                      </a:rPr>
                      <a:t>118.7</a:t>
                    </a:r>
                  </a:p>
                </c:rich>
              </c:tx>
              <c:showLegendKey val="0"/>
              <c:showVal val="1"/>
              <c:showCatName val="0"/>
              <c:showSerName val="0"/>
              <c:showPercent val="0"/>
              <c:showBubbleSize val="0"/>
            </c:dLbl>
            <c:dLbl>
              <c:idx val="1"/>
              <c:tx>
                <c:rich>
                  <a:bodyPr/>
                  <a:lstStyle/>
                  <a:p>
                    <a:r>
                      <a:rPr>
                        <a:solidFill>
                          <a:srgbClr val="FFFFFF"/>
                        </a:solidFill>
                      </a:rPr>
                      <a:t>113.4</a:t>
                    </a:r>
                  </a:p>
                </c:rich>
              </c:tx>
              <c:showLegendKey val="0"/>
              <c:showVal val="1"/>
              <c:showCatName val="0"/>
              <c:showSerName val="0"/>
              <c:showPercent val="0"/>
              <c:showBubbleSize val="0"/>
            </c:dLbl>
            <c:dLbl>
              <c:idx val="2"/>
              <c:tx>
                <c:rich>
                  <a:bodyPr/>
                  <a:lstStyle/>
                  <a:p>
                    <a:r>
                      <a:rPr>
                        <a:solidFill>
                          <a:srgbClr val="FFFFFF"/>
                        </a:solidFill>
                      </a:rPr>
                      <a:t>84.3</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18.690383</c:v>
                </c:pt>
                <c:pt idx="1">
                  <c:v>113.391038</c:v>
                </c:pt>
                <c:pt idx="2">
                  <c:v>84.337502</c:v>
                </c:pt>
              </c:numCache>
            </c:numRef>
          </c:val>
          <c:extLst>
            <c:ext xmlns:c16="http://schemas.microsoft.com/office/drawing/2014/chart" uri="{C3380CC4-5D6E-409C-BE32-E72D297353CC}">
              <c16:uniqueId val="{00000000-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50718878434712</c:v>
                </c:pt>
                <c:pt idx="1">
                  <c:v>0.21196600447140515</c:v>
                </c:pt>
                <c:pt idx="2">
                  <c:v>0.21754659109100033</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6%</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406237654799243</c:v>
                </c:pt>
                <c:pt idx="1">
                  <c:v>0.6660528219147825</c:v>
                </c:pt>
                <c:pt idx="2">
                  <c:v>0.6617057570279609</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Galbani</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2%</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3430434667660454</c:v>
                </c:pt>
                <c:pt idx="1">
                  <c:v>0.1219811736138123</c:v>
                </c:pt>
                <c:pt idx="2">
                  <c:v>0.12074765188103874</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31%</a:t>
                    </a:r>
                  </a:p>
                </c:rich>
              </c:tx>
              <c:showLegendKey val="0"/>
              <c:showVal val="1"/>
              <c:showCatName val="0"/>
              <c:showSerName val="0"/>
              <c:showPercent val="0"/>
              <c:showBubbleSize val="0"/>
            </c:dLbl>
            <c:dLbl>
              <c:idx val="1"/>
              <c:tx>
                <c:rich>
                  <a:bodyPr/>
                  <a:lstStyle/>
                  <a:p>
                    <a:r>
                      <a:rPr sz="800">
                        <a:solidFill>
                          <a:srgbClr val="FFFFFF"/>
                        </a:solidFill>
                        <a:latin typeface="Nexa Book"/>
                      </a:rPr>
                      <a:t>30%</a:t>
                    </a:r>
                  </a:p>
                </c:rich>
              </c:tx>
              <c:showLegendKey val="0"/>
              <c:showVal val="1"/>
              <c:showCatName val="0"/>
              <c:showSerName val="0"/>
              <c:showPercent val="0"/>
              <c:showBubbleSize val="0"/>
            </c:dLbl>
            <c:dLbl>
              <c:idx val="2"/>
              <c:tx>
                <c:rich>
                  <a:bodyPr/>
                  <a:lstStyle/>
                  <a:p>
                    <a:r>
                      <a:rPr sz="800">
                        <a:solidFill>
                          <a:srgbClr val="FFFFFF"/>
                        </a:solidFill>
                        <a:latin typeface="Nexa Book"/>
                      </a:rPr>
                      <a:t>33%</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3092502805541963</c:v>
                </c:pt>
                <c:pt idx="1">
                  <c:v>0.30343547613974725</c:v>
                </c:pt>
                <c:pt idx="2">
                  <c:v>0.3317453392537243</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7%</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56%</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705000900468373</c:v>
                </c:pt>
                <c:pt idx="1">
                  <c:v>0.5901673086199049</c:v>
                </c:pt>
                <c:pt idx="2">
                  <c:v>0.5616237773415076</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Galbani</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12%</a:t>
                    </a:r>
                  </a:p>
                </c:rich>
              </c:tx>
              <c:showLegendKey val="0"/>
              <c:showVal val="1"/>
              <c:showCatName val="0"/>
              <c:showSerName val="0"/>
              <c:showPercent val="0"/>
              <c:showBubbleSize val="0"/>
            </c:dLbl>
            <c:dLbl>
              <c:idx val="1"/>
              <c:tx>
                <c:rich>
                  <a:bodyPr/>
                  <a:lstStyle/>
                  <a:p>
                    <a:r>
                      <a:rPr sz="800">
                        <a:solidFill>
                          <a:srgbClr val="FFFFFF"/>
                        </a:solidFill>
                        <a:latin typeface="Nexa Book"/>
                      </a:rPr>
                      <a:t>11%</a:t>
                    </a:r>
                  </a:p>
                </c:rich>
              </c:tx>
              <c:showLegendKey val="0"/>
              <c:showVal val="1"/>
              <c:showCatName val="0"/>
              <c:showSerName val="0"/>
              <c:showPercent val="0"/>
              <c:showBubbleSize val="0"/>
            </c:dLbl>
            <c:dLbl>
              <c:idx val="2"/>
              <c:tx>
                <c:rich>
                  <a:bodyPr/>
                  <a:lstStyle/>
                  <a:p>
                    <a:r>
                      <a:rPr sz="800">
                        <a:solidFill>
                          <a:srgbClr val="FFFFFF"/>
                        </a:solidFill>
                        <a:latin typeface="Nexa Book"/>
                      </a:rPr>
                      <a:t>11%</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024962939896644</c:v>
                </c:pt>
                <c:pt idx="1">
                  <c:v>0.10639721524034784</c:v>
                </c:pt>
                <c:pt idx="2">
                  <c:v>0.1066308834047681</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2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2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4524447172892372</c:v>
                </c:pt>
                <c:pt idx="1">
                  <c:v>0.24673308165032548</c:v>
                </c:pt>
                <c:pt idx="2">
                  <c:v>0.2728782100030338</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258229066055372</c:v>
                </c:pt>
                <c:pt idx="1">
                  <c:v>0.6396453143011984</c:v>
                </c:pt>
                <c:pt idx="2">
                  <c:v>0.6144152907169561</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Galbani</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3%</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1%</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289326216655391</c:v>
                </c:pt>
                <c:pt idx="1">
                  <c:v>0.11362160404847615</c:v>
                </c:pt>
                <c:pt idx="2">
                  <c:v>0.1127064992800100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tx>
                <c:rich>
                  <a:bodyPr/>
                  <a:lstStyle/>
                  <a:p>
                    <a:r>
                      <a:rPr sz="800">
                        <a:solidFill>
                          <a:srgbClr val="FFFFFF"/>
                        </a:solidFill>
                        <a:latin typeface="Nexa Book"/>
                      </a:rPr>
                      <a:t>22%</a:t>
                    </a:r>
                  </a:p>
                </c:rich>
              </c:tx>
              <c:showLegendKey val="0"/>
              <c:showVal val="1"/>
              <c:showCatName val="0"/>
              <c:showSerName val="0"/>
              <c:showPercent val="0"/>
              <c:showBubbleSize val="0"/>
            </c:dLbl>
            <c:dLbl>
              <c:idx val="1"/>
              <c:tx>
                <c:rich>
                  <a:bodyPr/>
                  <a:lstStyle/>
                  <a:p>
                    <a:r>
                      <a:rPr sz="800">
                        <a:solidFill>
                          <a:srgbClr val="FFFFFF"/>
                        </a:solidFill>
                        <a:latin typeface="Nexa Book"/>
                      </a:rPr>
                      <a:t>23%</a:t>
                    </a:r>
                  </a:p>
                </c:rich>
              </c:tx>
              <c:showLegendKey val="0"/>
              <c:showVal val="1"/>
              <c:showCatName val="0"/>
              <c:showSerName val="0"/>
              <c:showPercent val="0"/>
              <c:showBubbleSize val="0"/>
            </c:dLbl>
            <c:dLbl>
              <c:idx val="2"/>
              <c:tx>
                <c:rich>
                  <a:bodyPr/>
                  <a:lstStyle/>
                  <a:p>
                    <a:r>
                      <a:rPr sz="800">
                        <a:solidFill>
                          <a:srgbClr val="FFFFFF"/>
                        </a:solidFill>
                        <a:latin typeface="Nexa Book"/>
                      </a:rPr>
                      <a:t>2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22083157318887817</c:v>
                </c:pt>
                <c:pt idx="1">
                  <c:v>0.22762430751743246</c:v>
                </c:pt>
                <c:pt idx="2">
                  <c:v>0.2522046578343631</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tx>
                <c:rich>
                  <a:bodyPr/>
                  <a:lstStyle/>
                  <a:p>
                    <a:r>
                      <a:rPr sz="800">
                        <a:solidFill>
                          <a:srgbClr val="FFFFFF"/>
                        </a:solidFill>
                        <a:latin typeface="Nexa Book"/>
                      </a:rPr>
                      <a:t>58%</a:t>
                    </a:r>
                  </a:p>
                </c:rich>
              </c:tx>
              <c:showLegendKey val="0"/>
              <c:showVal val="1"/>
              <c:showCatName val="0"/>
              <c:showSerName val="0"/>
              <c:showPercent val="0"/>
              <c:showBubbleSize val="0"/>
            </c:dLbl>
            <c:dLbl>
              <c:idx val="1"/>
              <c:tx>
                <c:rich>
                  <a:bodyPr/>
                  <a:lstStyle/>
                  <a:p>
                    <a:r>
                      <a:rPr sz="800">
                        <a:solidFill>
                          <a:srgbClr val="FFFFFF"/>
                        </a:solidFill>
                        <a:latin typeface="Nexa Book"/>
                      </a:rPr>
                      <a:t>59%</a:t>
                    </a:r>
                  </a:p>
                </c:rich>
              </c:tx>
              <c:showLegendKey val="0"/>
              <c:showVal val="1"/>
              <c:showCatName val="0"/>
              <c:showSerName val="0"/>
              <c:showPercent val="0"/>
              <c:showBubbleSize val="0"/>
            </c:dLbl>
            <c:dLbl>
              <c:idx val="2"/>
              <c:tx>
                <c:rich>
                  <a:bodyPr/>
                  <a:lstStyle/>
                  <a:p>
                    <a:r>
                      <a:rPr sz="800">
                        <a:solidFill>
                          <a:srgbClr val="FFFFFF"/>
                        </a:solidFill>
                        <a:latin typeface="Nexa Book"/>
                      </a:rPr>
                      <a:t>55%</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5800792269982281</c:v>
                </c:pt>
                <c:pt idx="1">
                  <c:v>0.5917391673787604</c:v>
                </c:pt>
                <c:pt idx="2">
                  <c:v>0.5535586133403769</c:v>
                </c:pt>
              </c:numCache>
            </c:numRef>
          </c:val>
          <c:extLst>
            <c:ext xmlns:c16="http://schemas.microsoft.com/office/drawing/2014/chart" uri="{C3380CC4-5D6E-409C-BE32-E72D297353CC}">
              <c16:uniqueId val="{00000000-C587-4D25-9FAB-90188F724A36}"/>
            </c:ext>
          </c:extLst>
        </c:ser>
        <c:ser>
          <c:idx val="2"/>
          <c:order val="2"/>
          <c:tx>
            <c:strRef>
              <c:f>Sheet1!$D$1</c:f>
              <c:strCache>
                <c:ptCount val="1"/>
                <c:pt idx="0">
                  <c:v>Galbani</c:v>
                </c:pt>
              </c:strCache>
            </c:strRef>
          </c:tx>
          <c:spPr>
            <a:solidFill>
              <a:srgbClr val="9B9898"/>
            </a:solidFill>
            <a:ln>
              <a:solidFill>
                <a:schemeClr val="bg1"/>
              </a:solidFill>
            </a:ln>
            <a:effectLst/>
          </c:spPr>
          <c:invertIfNegative val="0"/>
          <c:dLbls>
            <c:dLbl>
              <c:idx val="0"/>
              <c:tx>
                <c:rich>
                  <a:bodyPr/>
                  <a:lstStyle/>
                  <a:p>
                    <a:r>
                      <a:rPr sz="800">
                        <a:solidFill>
                          <a:srgbClr val="FFFFFF"/>
                        </a:solidFill>
                        <a:latin typeface="Nexa Book"/>
                      </a:rPr>
                      <a:t>20%</a:t>
                    </a:r>
                  </a:p>
                </c:rich>
              </c:tx>
              <c:showLegendKey val="0"/>
              <c:showVal val="1"/>
              <c:showCatName val="0"/>
              <c:showSerName val="0"/>
              <c:showPercent val="0"/>
              <c:showBubbleSize val="0"/>
            </c:dLbl>
            <c:dLbl>
              <c:idx val="1"/>
              <c:tx>
                <c:rich>
                  <a:bodyPr/>
                  <a:lstStyle/>
                  <a:p>
                    <a:r>
                      <a:rPr sz="800">
                        <a:solidFill>
                          <a:srgbClr val="FFFFFF"/>
                        </a:solidFill>
                        <a:latin typeface="Nexa Book"/>
                      </a:rPr>
                      <a:t>18%</a:t>
                    </a:r>
                  </a:p>
                </c:rich>
              </c:tx>
              <c:showLegendKey val="0"/>
              <c:showVal val="1"/>
              <c:showCatName val="0"/>
              <c:showSerName val="0"/>
              <c:showPercent val="0"/>
              <c:showBubbleSize val="0"/>
            </c:dLbl>
            <c:dLbl>
              <c:idx val="2"/>
              <c:tx>
                <c:rich>
                  <a:bodyPr/>
                  <a:lstStyle/>
                  <a:p>
                    <a:r>
                      <a:rPr sz="800">
                        <a:solidFill>
                          <a:srgbClr val="FFFFFF"/>
                        </a:solidFill>
                        <a:latin typeface="Nexa Book"/>
                      </a:rPr>
                      <a:t>19%</a:t>
                    </a:r>
                  </a:p>
                </c:rich>
              </c:tx>
              <c:showLegendKey val="0"/>
              <c:showVal val="1"/>
              <c:showCatName val="0"/>
              <c:showSerName val="0"/>
              <c:showPercent val="0"/>
              <c:showBubbleSize val="0"/>
            </c:dLbl>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9908919981289372</c:v>
                </c:pt>
                <c:pt idx="1">
                  <c:v>0.1806365251038072</c:v>
                </c:pt>
                <c:pt idx="2">
                  <c:v>0.19423672882526002</c:v>
                </c:pt>
              </c:numCache>
            </c:numRef>
          </c:val>
          <c:extLst>
            <c:ext xmlns:c16="http://schemas.microsoft.com/office/drawing/2014/chart" uri="{C3380CC4-5D6E-409C-BE32-E72D297353CC}">
              <c16:uniqueId val="{00000000-C587-4D25-9FAB-90188F724A36}"/>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9%</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0.1765272493011923</c:v>
                </c:pt>
                <c:pt idx="1">
                  <c:v>0.17478989435723238</c:v>
                </c:pt>
                <c:pt idx="2">
                  <c:v>0.1920090264785009</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64%</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65%</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63%</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0.6388661085426957</c:v>
                </c:pt>
                <c:pt idx="1">
                  <c:v>0.6527891958431875</c:v>
                </c:pt>
                <c:pt idx="2">
                  <c:v>0.6307684201155602</c:v>
                </c:pt>
              </c:numCache>
            </c:numRef>
          </c:val>
          <c:extLst>
            <c:ext xmlns:c16="http://schemas.microsoft.com/office/drawing/2014/chart" uri="{C3380CC4-5D6E-409C-BE32-E72D297353CC}">
              <c16:uniqueId val="{00000000-E8ED-4355-AB33-141417161D1C}"/>
            </c:ext>
          </c:extLst>
        </c:ser>
        <c:ser>
          <c:idx val="2"/>
          <c:order val="2"/>
          <c:tx>
            <c:strRef>
              <c:f>Sheet1!$D$1</c:f>
              <c:strCache>
                <c:ptCount val="1"/>
                <c:pt idx="0">
                  <c:v>Galbani</c:v>
                </c:pt>
              </c:strCache>
            </c:strRef>
          </c:tx>
          <c:spPr>
            <a:solidFill>
              <a:srgbClr val="9B9898"/>
            </a:solidFill>
            <a:ln>
              <a:solidFill>
                <a:schemeClr val="bg1"/>
              </a:solidFill>
            </a:ln>
            <a:effectLst/>
          </c:spPr>
          <c:invertIfNegative val="0"/>
          <c:dLbls>
            <c:dLbl>
              <c:idx val="0"/>
              <c:layout>
                <c:manualLayout>
                  <c:x val="-1.9343710071784103E-17"/>
                  <c:y val="-1.6606988543104701E-16"/>
                </c:manualLayout>
              </c:layout>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tx>
                <c:rich>
                  <a:bodyPr/>
                  <a:lstStyle/>
                  <a:p>
                    <a:r>
                      <a:rPr sz="800">
                        <a:solidFill>
                          <a:srgbClr val="FFFFFF"/>
                        </a:solidFill>
                        <a:latin typeface="Nexa Book"/>
                      </a:rPr>
                      <a:t>17%</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tx>
                <c:rich>
                  <a:bodyPr/>
                  <a:lstStyle/>
                  <a:p>
                    <a:r>
                      <a:rPr sz="800">
                        <a:solidFill>
                          <a:srgbClr val="FFFFFF"/>
                        </a:solidFill>
                        <a:latin typeface="Nexa Book"/>
                      </a:rPr>
                      <a:t>18%</a:t>
                    </a:r>
                  </a:p>
                </c:rich>
              </c:tx>
              <c:numFmt formatCode="0.#&quot;%&quot;" sourceLinked="0"/>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0.184606642156112</c:v>
                </c:pt>
                <c:pt idx="1">
                  <c:v>0.1724209097995801</c:v>
                </c:pt>
                <c:pt idx="2">
                  <c:v>0.17722255340593887</c:v>
                </c:pt>
              </c:numCache>
            </c:numRef>
          </c:val>
          <c:extLst>
            <c:ext xmlns:c16="http://schemas.microsoft.com/office/drawing/2014/chart" uri="{C3380CC4-5D6E-409C-BE32-E72D297353CC}">
              <c16:uniqueId val="{00000000-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405690906755509</c:v>
                </c:pt>
                <c:pt idx="1">
                  <c:v>0.15010047485532954</c:v>
                </c:pt>
                <c:pt idx="2">
                  <c:v>0.1437359068231803</c:v>
                </c:pt>
                <c:pt idx="3">
                  <c:v>0.10492176412311441</c:v>
                </c:pt>
                <c:pt idx="4">
                  <c:v>0.03543502191731638</c:v>
                </c:pt>
                <c:pt idx="5">
                  <c:v>0.028008622506982047</c:v>
                </c:pt>
                <c:pt idx="6">
                  <c:v>0.017885183893217194</c:v>
                </c:pt>
                <c:pt idx="7">
                  <c:v>0.114222119125351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08868490012828911</c:v>
                </c:pt>
                <c:pt idx="1">
                  <c:v>-0.0053771294804343395</c:v>
                </c:pt>
                <c:pt idx="2">
                  <c:v>-0.002971221616473785</c:v>
                </c:pt>
                <c:pt idx="3">
                  <c:v>0.00014593919891343898</c:v>
                </c:pt>
                <c:pt idx="4">
                  <c:v>-0.0014498889713340408</c:v>
                </c:pt>
                <c:pt idx="5">
                  <c:v>0.001195569400127855</c:v>
                </c:pt>
                <c:pt idx="6">
                  <c:v>0.0009737510255944971</c:v>
                </c:pt>
                <c:pt idx="7">
                  <c:v>-0.001385509569222502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05690906755509</c:v>
                </c:pt>
                <c:pt idx="1">
                  <c:v>0.04859106212569865</c:v>
                </c:pt>
                <c:pt idx="2">
                  <c:v>0.03947889536149356</c:v>
                </c:pt>
                <c:pt idx="3">
                  <c:v>0.03549933807480469</c:v>
                </c:pt>
                <c:pt idx="4">
                  <c:v>0.032236279623140934</c:v>
                </c:pt>
                <c:pt idx="5">
                  <c:v>0.030606484849617605</c:v>
                </c:pt>
                <c:pt idx="6">
                  <c:v>0.02723571284574035</c:v>
                </c:pt>
                <c:pt idx="7">
                  <c:v>0.0249549298422494</c:v>
                </c:pt>
                <c:pt idx="8">
                  <c:v>0.02351341888857187</c:v>
                </c:pt>
                <c:pt idx="9">
                  <c:v>0.332192971633173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7916162281328781</c:v>
                </c:pt>
                <c:pt idx="1">
                  <c:v>0.04290019949315174</c:v>
                </c:pt>
                <c:pt idx="2">
                  <c:v>-0.009707111094653997</c:v>
                </c:pt>
                <c:pt idx="3">
                  <c:v>0.03579885758328373</c:v>
                </c:pt>
                <c:pt idx="4">
                  <c:v>0.007314027925520019</c:v>
                </c:pt>
                <c:pt idx="5">
                  <c:v>0.009312267867773477</c:v>
                </c:pt>
                <c:pt idx="6">
                  <c:v>0.008321604662363754</c:v>
                </c:pt>
                <c:pt idx="7">
                  <c:v>-0.0147782236241509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7916162281328781</c:v>
                </c:pt>
                <c:pt idx="1">
                  <c:v>-0.010811409605435085</c:v>
                </c:pt>
                <c:pt idx="2">
                  <c:v>0.014903612346106931</c:v>
                </c:pt>
                <c:pt idx="3">
                  <c:v>0.016801065184925277</c:v>
                </c:pt>
                <c:pt idx="4">
                  <c:v>0.00885848693855323</c:v>
                </c:pt>
                <c:pt idx="5">
                  <c:v>0.012923778363487924</c:v>
                </c:pt>
                <c:pt idx="6">
                  <c:v>0.008539358206531782</c:v>
                </c:pt>
                <c:pt idx="7">
                  <c:v>0.008975669238885799</c:v>
                </c:pt>
                <c:pt idx="8">
                  <c:v>0.009474927655463513</c:v>
                </c:pt>
                <c:pt idx="9">
                  <c:v>0.00975117483122250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Others</c:v>
                </c:pt>
              </c:strCache>
            </c:strRef>
          </c:tx>
          <c:spPr>
            <a:solidFill>
              <a:srgbClr val="AEABAB"/>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5</a:t>
                    </a:r>
                  </a:p>
                </c:rich>
              </c:tx>
              <c:showLegendKey val="0"/>
              <c:showVal val="1"/>
              <c:showCatName val="0"/>
              <c:showSerName val="0"/>
              <c:showPercent val="0"/>
              <c:showBubbleSize val="0"/>
            </c:dLbl>
            <c:dLbl>
              <c:idx val="2"/>
              <c:tx>
                <c:rich>
                  <a:bodyPr/>
                  <a:lstStyle/>
                  <a:p>
                    <a:r>
                      <a:rPr>
                        <a:solidFill>
                          <a:srgbClr val="FFFFFF"/>
                        </a:solidFill>
                      </a:rPr>
                      <a:t>10.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B$2:$B$4</c:f>
              <c:numCache>
                <c:formatCode>General</c:formatCode>
                <c:ptCount val="3"/>
                <c:pt idx="0">
                  <c:v>15.677251</c:v>
                </c:pt>
                <c:pt idx="1">
                  <c:v>15.540494</c:v>
                </c:pt>
                <c:pt idx="2">
                  <c:v>10.487096</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Private Label</c:v>
                </c:pt>
              </c:strCache>
            </c:strRef>
          </c:tx>
          <c:spPr>
            <a:solidFill>
              <a:srgbClr val="A6A6A6"/>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2.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3.3</a:t>
                    </a:r>
                  </a:p>
                </c:rich>
              </c:tx>
              <c:showLegendKey val="0"/>
              <c:showVal val="1"/>
              <c:showCatName val="0"/>
              <c:showSerName val="0"/>
              <c:showPercent val="0"/>
              <c:showBubbleSize val="0"/>
            </c:dLbl>
            <c:dLbl>
              <c:idx val="2"/>
              <c:tx>
                <c:rich>
                  <a:bodyPr/>
                  <a:lstStyle/>
                  <a:p>
                    <a:r>
                      <a:rPr>
                        <a:solidFill>
                          <a:srgbClr val="FFFFFF"/>
                        </a:solidFill>
                      </a:rPr>
                      <a:t>14.2</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C$2:$C$4</c:f>
              <c:numCache>
                <c:formatCode>General</c:formatCode>
                <c:ptCount val="3"/>
                <c:pt idx="0">
                  <c:v>22.194427</c:v>
                </c:pt>
                <c:pt idx="1">
                  <c:v>23.257474</c:v>
                </c:pt>
                <c:pt idx="2">
                  <c:v>14.245404</c:v>
                </c:pt>
              </c:numCache>
            </c:numRef>
          </c:val>
          <c:extLst>
            <c:ext xmlns:c16="http://schemas.microsoft.com/office/drawing/2014/chart" uri="{C3380CC4-5D6E-409C-BE32-E72D297353CC}">
              <c16:uniqueId val="{00000000-684A-418E-960D-F285AA891C5B}"/>
            </c:ext>
          </c:extLst>
        </c:ser>
        <c:ser>
          <c:idx val="2"/>
          <c:order val="2"/>
          <c:tx>
            <c:strRef>
              <c:f>Sheet1!$D$1</c:f>
              <c:strCache>
                <c:ptCount val="1"/>
                <c:pt idx="0">
                  <c:v>President</c:v>
                </c:pt>
              </c:strCache>
            </c:strRef>
          </c:tx>
          <c:spPr>
            <a:solidFill>
              <a:srgbClr val="9B9898"/>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4.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4.2</a:t>
                    </a:r>
                  </a:p>
                </c:rich>
              </c:tx>
              <c:showLegendKey val="0"/>
              <c:showVal val="1"/>
              <c:showCatName val="0"/>
              <c:showSerName val="0"/>
              <c:showPercent val="0"/>
              <c:showBubbleSize val="0"/>
            </c:dLbl>
            <c:dLbl>
              <c:idx val="2"/>
              <c:tx>
                <c:rich>
                  <a:bodyPr/>
                  <a:lstStyle/>
                  <a:p>
                    <a:r>
                      <a:rPr>
                        <a:solidFill>
                          <a:srgbClr val="FFFFFF"/>
                        </a:solidFill>
                      </a:rPr>
                      <a:t>2.5</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D$2:$D$4</c:f>
              <c:numCache>
                <c:formatCode>General</c:formatCode>
                <c:ptCount val="3"/>
                <c:pt idx="0">
                  <c:v>4.19935</c:v>
                </c:pt>
                <c:pt idx="1">
                  <c:v>4.236812</c:v>
                </c:pt>
                <c:pt idx="2">
                  <c:v>2.488239</c:v>
                </c:pt>
              </c:numCache>
            </c:numRef>
          </c:val>
          <c:extLst>
            <c:ext xmlns:c16="http://schemas.microsoft.com/office/drawing/2014/chart" uri="{C3380CC4-5D6E-409C-BE32-E72D297353CC}">
              <c16:uniqueId val="{00000000-684A-418E-960D-F285AA891C5B}"/>
            </c:ext>
          </c:extLst>
        </c:ser>
        <c:ser>
          <c:idx val="3"/>
          <c:order val="3"/>
          <c:tx>
            <c:strRef>
              <c:f>Sheet1!$E$1</c:f>
              <c:strCache>
                <c:ptCount val="1"/>
                <c:pt idx="0">
                  <c:v>Soignon</c:v>
                </c:pt>
              </c:strCache>
            </c:strRef>
          </c:tx>
          <c:spPr>
            <a:solidFill>
              <a:srgbClr val="7F7F7F"/>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6</a:t>
                    </a:r>
                  </a:p>
                </c:rich>
              </c:tx>
              <c:showLegendKey val="0"/>
              <c:showVal val="1"/>
              <c:showCatName val="0"/>
              <c:showSerName val="0"/>
              <c:showPercent val="0"/>
              <c:showBubbleSize val="0"/>
            </c:dLbl>
            <c:dLbl>
              <c:idx val="2"/>
              <c:tx>
                <c:rich>
                  <a:bodyPr/>
                  <a:lstStyle/>
                  <a:p>
                    <a:r>
                      <a:rPr>
                        <a:solidFill>
                          <a:srgbClr val="FFFFFF"/>
                        </a:solidFill>
                      </a:rPr>
                      <a:t>1.6</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E$2:$E$4</c:f>
              <c:numCache>
                <c:formatCode>General</c:formatCode>
                <c:ptCount val="3"/>
                <c:pt idx="0">
                  <c:v>2.787496</c:v>
                </c:pt>
                <c:pt idx="1">
                  <c:v>2.629076</c:v>
                </c:pt>
                <c:pt idx="2">
                  <c:v>1.585839</c:v>
                </c:pt>
              </c:numCache>
            </c:numRef>
          </c:val>
          <c:extLst>
            <c:ext xmlns:c16="http://schemas.microsoft.com/office/drawing/2014/chart" uri="{C3380CC4-5D6E-409C-BE32-E72D297353CC}">
              <c16:uniqueId val="{00000000-684A-418E-960D-F285AA891C5B}"/>
            </c:ext>
          </c:extLst>
        </c:ser>
        <c:ser>
          <c:idx val="4"/>
          <c:order val="4"/>
          <c:tx>
            <c:strRef>
              <c:f>Sheet1!$F$1</c:f>
              <c:strCache>
                <c:ptCount val="1"/>
                <c:pt idx="0">
                  <c:v>Caprice Des Dieux</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3</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2</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F$2:$F$4</c:f>
              <c:numCache>
                <c:formatCode>General</c:formatCode>
                <c:ptCount val="3"/>
                <c:pt idx="0">
                  <c:v>2.345483</c:v>
                </c:pt>
                <c:pt idx="1">
                  <c:v>2.215857</c:v>
                </c:pt>
                <c:pt idx="2">
                  <c:v>1.42523</c:v>
                </c:pt>
              </c:numCache>
            </c:numRef>
          </c:val>
          <c:extLst>
            <c:ext xmlns:c16="http://schemas.microsoft.com/office/drawing/2014/chart" uri="{C3380CC4-5D6E-409C-BE32-E72D297353CC}">
              <c16:uniqueId val="{00000000-684A-418E-960D-F285AA891C5B}"/>
            </c:ext>
          </c:extLst>
        </c:ser>
        <c:ser>
          <c:idx val="5"/>
          <c:order val="5"/>
          <c:tx>
            <c:strRef>
              <c:f>Sheet1!$G$1</c:f>
              <c:strCache>
                <c:ptCount val="1"/>
                <c:pt idx="0">
                  <c:v>La Vache Qui Rit</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2.9</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2</a:t>
                    </a:r>
                  </a:p>
                </c:rich>
              </c:tx>
              <c:showLegendKey val="0"/>
              <c:showVal val="1"/>
              <c:showCatName val="0"/>
              <c:showSerName val="0"/>
              <c:showPercent val="0"/>
              <c:showBubbleSize val="0"/>
            </c:dLbl>
            <c:dLbl>
              <c:idx val="2"/>
              <c:tx>
                <c:rich>
                  <a:bodyPr/>
                  <a:lstStyle/>
                  <a:p>
                    <a:r>
                      <a:rPr>
                        <a:solidFill>
                          <a:srgbClr val="FFFFFF"/>
                        </a:solidFill>
                      </a:rPr>
                      <a:t>1.9</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G$2:$G$4</c:f>
              <c:numCache>
                <c:formatCode>General</c:formatCode>
                <c:ptCount val="3"/>
                <c:pt idx="0">
                  <c:v>2.945843</c:v>
                </c:pt>
                <c:pt idx="1">
                  <c:v>3.188162</c:v>
                </c:pt>
                <c:pt idx="2">
                  <c:v>1.906178</c:v>
                </c:pt>
              </c:numCache>
            </c:numRef>
          </c:val>
          <c:extLst>
            <c:ext xmlns:c16="http://schemas.microsoft.com/office/drawing/2014/chart" uri="{C3380CC4-5D6E-409C-BE32-E72D297353CC}">
              <c16:uniqueId val="{00000000-684A-418E-960D-F285AA891C5B}"/>
            </c:ext>
          </c:extLst>
        </c:ser>
        <c:ser>
          <c:idx val="6"/>
          <c:order val="6"/>
          <c:tx>
            <c:strRef>
              <c:f>Sheet1!$H$1</c:f>
              <c:strCache>
                <c:ptCount val="1"/>
                <c:pt idx="0">
                  <c:v>St Moret</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8</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2.0</a:t>
                    </a:r>
                  </a:p>
                </c:rich>
              </c:tx>
              <c:showLegendKey val="0"/>
              <c:showVal val="1"/>
              <c:showCatName val="0"/>
              <c:showSerName val="0"/>
              <c:showPercent val="0"/>
              <c:showBubbleSize val="0"/>
            </c:dLbl>
            <c:dLbl>
              <c:idx val="2"/>
              <c:tx>
                <c:rich>
                  <a:bodyPr/>
                  <a:lstStyle/>
                  <a:p>
                    <a:r>
                      <a:rPr>
                        <a:solidFill>
                          <a:srgbClr val="FFFFFF"/>
                        </a:solidFill>
                      </a:rPr>
                      <a:t>1.4</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H$2:$H$4</c:f>
              <c:numCache>
                <c:formatCode>General</c:formatCode>
                <c:ptCount val="3"/>
                <c:pt idx="0">
                  <c:v>1.817189</c:v>
                </c:pt>
                <c:pt idx="1">
                  <c:v>1.96474</c:v>
                </c:pt>
                <c:pt idx="2">
                  <c:v>1.371773</c:v>
                </c:pt>
              </c:numCache>
            </c:numRef>
          </c:val>
          <c:extLst>
            <c:ext xmlns:c16="http://schemas.microsoft.com/office/drawing/2014/chart" uri="{C3380CC4-5D6E-409C-BE32-E72D297353CC}">
              <c16:uniqueId val="{00000000-684A-418E-960D-F285AA891C5B}"/>
            </c:ext>
          </c:extLst>
        </c:ser>
        <c:ser>
          <c:idx val="7"/>
          <c:order val="7"/>
          <c:tx>
            <c:strRef>
              <c:f>Sheet1!$I$1</c:f>
              <c:strCache>
                <c:ptCount val="1"/>
                <c:pt idx="0">
                  <c:v>Coeur De Lion</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3.1</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3.0</a:t>
                    </a:r>
                  </a:p>
                </c:rich>
              </c:tx>
              <c:showLegendKey val="0"/>
              <c:showVal val="1"/>
              <c:showCatName val="0"/>
              <c:showSerName val="0"/>
              <c:showPercent val="0"/>
              <c:showBubbleSize val="0"/>
            </c:dLbl>
            <c:dLbl>
              <c:idx val="2"/>
              <c:tx>
                <c:rich>
                  <a:bodyPr/>
                  <a:lstStyle/>
                  <a:p>
                    <a:r>
                      <a:rPr>
                        <a:solidFill>
                          <a:srgbClr val="FFFFFF"/>
                        </a:solidFill>
                      </a:rPr>
                      <a:t>1.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I$2:$I$4</c:f>
              <c:numCache>
                <c:formatCode>General</c:formatCode>
                <c:ptCount val="3"/>
                <c:pt idx="0">
                  <c:v>3.080791</c:v>
                </c:pt>
                <c:pt idx="1">
                  <c:v>3.010621</c:v>
                </c:pt>
                <c:pt idx="2">
                  <c:v>1.837058</c:v>
                </c:pt>
              </c:numCache>
            </c:numRef>
          </c:val>
          <c:extLst>
            <c:ext xmlns:c16="http://schemas.microsoft.com/office/drawing/2014/chart" uri="{C3380CC4-5D6E-409C-BE32-E72D297353CC}">
              <c16:uniqueId val="{00000000-684A-418E-960D-F285AA891C5B}"/>
            </c:ext>
          </c:extLst>
        </c:ser>
        <c:ser>
          <c:idx val="8"/>
          <c:order val="8"/>
          <c:tx>
            <c:strRef>
              <c:f>Sheet1!$J$1</c:f>
              <c:strCache>
                <c:ptCount val="1"/>
                <c:pt idx="0">
                  <c:v>Mini Babybel</c:v>
                </c:pt>
              </c:strCache>
            </c:strRef>
          </c:tx>
          <c:spPr>
            <a:solidFill>
              <a:srgbClr val="575555"/>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5</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5</a:t>
                    </a:r>
                  </a:p>
                </c:rich>
              </c:tx>
              <c:showLegendKey val="0"/>
              <c:showVal val="1"/>
              <c:showCatName val="0"/>
              <c:showSerName val="0"/>
              <c:showPercent val="0"/>
              <c:showBubbleSize val="0"/>
            </c:dLbl>
            <c:dLbl>
              <c:idx val="2"/>
              <c:tx>
                <c:rich>
                  <a:bodyPr/>
                  <a:lstStyle/>
                  <a:p>
                    <a:r>
                      <a:rPr>
                        <a:solidFill>
                          <a:srgbClr val="FFFFFF"/>
                        </a:solidFill>
                      </a:rPr>
                      <a:t>0.8</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J$2:$J$4</c:f>
              <c:numCache>
                <c:formatCode>General</c:formatCode>
                <c:ptCount val="3"/>
                <c:pt idx="0">
                  <c:v>1.539348</c:v>
                </c:pt>
                <c:pt idx="1">
                  <c:v>1.503334</c:v>
                </c:pt>
                <c:pt idx="2">
                  <c:v>0.805693</c:v>
                </c:pt>
              </c:numCache>
            </c:numRef>
          </c:val>
          <c:extLst>
            <c:ext xmlns:c16="http://schemas.microsoft.com/office/drawing/2014/chart" uri="{C3380CC4-5D6E-409C-BE32-E72D297353CC}">
              <c16:uniqueId val="{00000000-684A-418E-960D-F285AA891C5B}"/>
            </c:ext>
          </c:extLst>
        </c:ser>
        <c:ser>
          <c:idx val="9"/>
          <c:order val="9"/>
          <c:tx>
            <c:strRef>
              <c:f>Sheet1!$K$1</c:f>
              <c:strCache>
                <c:ptCount val="1"/>
                <c:pt idx="0">
                  <c:v>Kiri</c:v>
                </c:pt>
              </c:strCache>
            </c:strRef>
          </c:tx>
          <c:spPr>
            <a:solidFill>
              <a:srgbClr val="B2DFDC"/>
            </a:solidFill>
            <a:ln>
              <a:solidFill>
                <a:schemeClr val="bg1"/>
              </a:solidFill>
            </a:ln>
            <a:effectLst/>
          </c:spPr>
          <c:invertIfNegative val="0"/>
          <c:dLbls>
            <c:dLbl>
              <c:idx val="0"/>
              <c:layout>
                <c:manualLayout>
                  <c:x val="0"/>
                  <c:y val="6.7130820790572542E-3"/>
                </c:manualLayout>
              </c:layout>
              <c:tx>
                <c:rich>
                  <a:bodyPr/>
                  <a:lstStyle/>
                  <a:p>
                    <a:r>
                      <a:rPr>
                        <a:solidFill>
                          <a:srgbClr val="FFFFFF"/>
                        </a:solidFill>
                      </a:rPr>
                      <a:t>1.7</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dLbl>
              <c:idx val="1"/>
              <c:tx>
                <c:rich>
                  <a:bodyPr/>
                  <a:lstStyle/>
                  <a:p>
                    <a:r>
                      <a:rPr>
                        <a:solidFill>
                          <a:srgbClr val="FFFFFF"/>
                        </a:solidFill>
                      </a:rPr>
                      <a:t>1.7</a:t>
                    </a:r>
                  </a:p>
                </c:rich>
              </c:tx>
              <c:showLegendKey val="0"/>
              <c:showVal val="1"/>
              <c:showCatName val="0"/>
              <c:showSerName val="0"/>
              <c:showPercent val="0"/>
              <c:showBubbleSize val="0"/>
            </c:dLbl>
            <c:dLbl>
              <c:idx val="2"/>
              <c:tx>
                <c:rich>
                  <a:bodyPr/>
                  <a:lstStyle/>
                  <a:p>
                    <a:r>
                      <a:rPr>
                        <a:solidFill>
                          <a:srgbClr val="FFFFFF"/>
                        </a:solidFill>
                      </a:rPr>
                      <a:t>1.1</a:t>
                    </a:r>
                  </a:p>
                </c:rich>
              </c:tx>
              <c:showLegendKey val="0"/>
              <c:showVal val="1"/>
              <c:showCatName val="0"/>
              <c:showSerName val="0"/>
              <c:showPercent val="0"/>
              <c:showBubbleSize val="0"/>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4</c:f>
              <c:numCache>
                <c:formatCode>General</c:formatCode>
                <c:ptCount val="3"/>
                <c:pt idx="0">
                  <c:v>2023</c:v>
                </c:pt>
                <c:pt idx="1">
                  <c:v>2024</c:v>
                </c:pt>
                <c:pt idx="2">
                  <c:v>2025</c:v>
                </c:pt>
              </c:numCache>
            </c:numRef>
          </c:cat>
          <c:val>
            <c:numRef>
              <c:f>Sheet1!$K$2:$K$4</c:f>
              <c:numCache>
                <c:formatCode>General</c:formatCode>
                <c:ptCount val="3"/>
                <c:pt idx="0">
                  <c:v>1.663143</c:v>
                </c:pt>
                <c:pt idx="1">
                  <c:v>1.737366</c:v>
                </c:pt>
                <c:pt idx="2">
                  <c:v>1.134459</c:v>
                </c:pt>
              </c:numCache>
            </c:numRef>
          </c:val>
          <c:extLst>
            <c:ext xmlns:c16="http://schemas.microsoft.com/office/drawing/2014/chart" uri="{C3380CC4-5D6E-409C-BE32-E72D297353CC}">
              <c16:uniqueId val="{00000000-684A-418E-960D-F285AA891C5B}"/>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3629726605717514</c:v>
                </c:pt>
                <c:pt idx="1">
                  <c:v>0.17132212320628</c:v>
                </c:pt>
                <c:pt idx="2">
                  <c:v>0.13278442079834468</c:v>
                </c:pt>
                <c:pt idx="3">
                  <c:v>0.12925576415038473</c:v>
                </c:pt>
                <c:pt idx="4">
                  <c:v>0.038386901852451236</c:v>
                </c:pt>
                <c:pt idx="5">
                  <c:v>0.03414761200970014</c:v>
                </c:pt>
                <c:pt idx="6">
                  <c:v>0.02140043766604543</c:v>
                </c:pt>
                <c:pt idx="7">
                  <c:v>0.13640547425961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023168939040376646</c:v>
                </c:pt>
                <c:pt idx="1">
                  <c:v>-0.0004914090139245403</c:v>
                </c:pt>
                <c:pt idx="2">
                  <c:v>0.0005694154576976612</c:v>
                </c:pt>
                <c:pt idx="3">
                  <c:v>-0.0040439351705159055</c:v>
                </c:pt>
                <c:pt idx="4">
                  <c:v>-0.0006814086272141778</c:v>
                </c:pt>
                <c:pt idx="5">
                  <c:v>0.0006003205030889729</c:v>
                </c:pt>
                <c:pt idx="6">
                  <c:v>0.0010643999356434262</c:v>
                </c:pt>
                <c:pt idx="7">
                  <c:v>0.00066572301118689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629726605717514</c:v>
                </c:pt>
                <c:pt idx="1">
                  <c:v>0.039901864727342154</c:v>
                </c:pt>
                <c:pt idx="2">
                  <c:v>0.03929497366740148</c:v>
                </c:pt>
                <c:pt idx="3">
                  <c:v>0.03717734044954222</c:v>
                </c:pt>
                <c:pt idx="4">
                  <c:v>0.03686494305339173</c:v>
                </c:pt>
                <c:pt idx="5">
                  <c:v>0.03572310614263331</c:v>
                </c:pt>
                <c:pt idx="6">
                  <c:v>0.03218786963711691</c:v>
                </c:pt>
                <c:pt idx="7">
                  <c:v>0.02909412698986109</c:v>
                </c:pt>
                <c:pt idx="8">
                  <c:v>0.028915068219525632</c:v>
                </c:pt>
                <c:pt idx="9">
                  <c:v>0.3845434410560103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10854095629702509</c:v>
                </c:pt>
                <c:pt idx="1">
                  <c:v>0.05689168205175947</c:v>
                </c:pt>
                <c:pt idx="2">
                  <c:v>0.05460740085111078</c:v>
                </c:pt>
                <c:pt idx="3">
                  <c:v>-0.023647369476230445</c:v>
                </c:pt>
                <c:pt idx="4">
                  <c:v>0.010210119567973363</c:v>
                </c:pt>
                <c:pt idx="5">
                  <c:v>0.012843314904746266</c:v>
                </c:pt>
                <c:pt idx="6">
                  <c:v>0.011315613030150532</c:v>
                </c:pt>
                <c:pt idx="7">
                  <c:v>-0.00924534428041517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10854095629702509</c:v>
                </c:pt>
                <c:pt idx="1">
                  <c:v>-0.019099470598009413</c:v>
                </c:pt>
                <c:pt idx="2">
                  <c:v>0.0203879201323298</c:v>
                </c:pt>
                <c:pt idx="3">
                  <c:v>0.014445522063787821</c:v>
                </c:pt>
                <c:pt idx="4">
                  <c:v>0.013201980475789556</c:v>
                </c:pt>
                <c:pt idx="5">
                  <c:v>0.017224146276154147</c:v>
                </c:pt>
                <c:pt idx="6">
                  <c:v>0.010883572532163037</c:v>
                </c:pt>
                <c:pt idx="7">
                  <c:v>0.011988688828663076</c:v>
                </c:pt>
                <c:pt idx="8">
                  <c:v>0.009127773625893454</c:v>
                </c:pt>
                <c:pt idx="9">
                  <c:v>0.0688784364678529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4425532462496867</c:v>
                </c:pt>
                <c:pt idx="1">
                  <c:v>0.18554336201775995</c:v>
                </c:pt>
                <c:pt idx="2">
                  <c:v>0.12814366711561445</c:v>
                </c:pt>
                <c:pt idx="3">
                  <c:v>0.07643469931393834</c:v>
                </c:pt>
                <c:pt idx="4">
                  <c:v>0.0404446488674869</c:v>
                </c:pt>
                <c:pt idx="5">
                  <c:v>0.030360321423162077</c:v>
                </c:pt>
                <c:pt idx="6">
                  <c:v>0.015775308060474568</c:v>
                </c:pt>
                <c:pt idx="7">
                  <c:v>0.011160457417790962</c:v>
                </c:pt>
                <c:pt idx="8">
                  <c:v>0.0695842895340859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0</c:f>
              <c:numCache>
                <c:formatCode>General</c:formatCode>
                <c:ptCount val="9"/>
                <c:pt idx="0">
                  <c:v>0.012797042147819293</c:v>
                </c:pt>
                <c:pt idx="1">
                  <c:v>-0.002017307543242336</c:v>
                </c:pt>
                <c:pt idx="2">
                  <c:v>-0.014235840987178117</c:v>
                </c:pt>
                <c:pt idx="3">
                  <c:v>0.0006329409627070515</c:v>
                </c:pt>
                <c:pt idx="4">
                  <c:v>0.0009890206845894964</c:v>
                </c:pt>
                <c:pt idx="5">
                  <c:v>-0.0016867333573534413</c:v>
                </c:pt>
                <c:pt idx="6">
                  <c:v>0.00252597063261538</c:v>
                </c:pt>
                <c:pt idx="7">
                  <c:v>0.001959403545831383</c:v>
                </c:pt>
                <c:pt idx="8">
                  <c:v>-0.000964496085788722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4425532462496867</c:v>
                </c:pt>
                <c:pt idx="1">
                  <c:v>0.07122155993240886</c:v>
                </c:pt>
                <c:pt idx="2">
                  <c:v>0.04070629358325497</c:v>
                </c:pt>
                <c:pt idx="3">
                  <c:v>0.03835020151809874</c:v>
                </c:pt>
                <c:pt idx="4">
                  <c:v>0.025984560867509717</c:v>
                </c:pt>
                <c:pt idx="5">
                  <c:v>0.025138107833638658</c:v>
                </c:pt>
                <c:pt idx="6">
                  <c:v>0.02324677063390645</c:v>
                </c:pt>
                <c:pt idx="7">
                  <c:v>0.020492650683761413</c:v>
                </c:pt>
                <c:pt idx="8">
                  <c:v>0.01823936749380888</c:v>
                </c:pt>
                <c:pt idx="9">
                  <c:v>0.294067241203925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0</c:f>
              <c:numCache>
                <c:formatCode>General</c:formatCode>
                <c:ptCount val="9"/>
                <c:pt idx="0">
                  <c:v>-0.012652429585081393</c:v>
                </c:pt>
                <c:pt idx="1">
                  <c:v>0.0007600912506554591</c:v>
                </c:pt>
                <c:pt idx="2">
                  <c:v>0.01076637598895401</c:v>
                </c:pt>
                <c:pt idx="3">
                  <c:v>-0.004211665962453037</c:v>
                </c:pt>
                <c:pt idx="4">
                  <c:v>-0.0033487291567049077</c:v>
                </c:pt>
                <c:pt idx="5">
                  <c:v>-0.003321766237886735</c:v>
                </c:pt>
                <c:pt idx="6">
                  <c:v>0.0013537011669857192</c:v>
                </c:pt>
                <c:pt idx="7">
                  <c:v>0.003241235950182735</c:v>
                </c:pt>
                <c:pt idx="8">
                  <c:v>0.00741318658534811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2652429585081393</c:v>
                </c:pt>
                <c:pt idx="1">
                  <c:v>-0.0041352556913929195</c:v>
                </c:pt>
                <c:pt idx="2">
                  <c:v>-0.0030870844409368395</c:v>
                </c:pt>
                <c:pt idx="3">
                  <c:v>0.00783340950724994</c:v>
                </c:pt>
                <c:pt idx="4">
                  <c:v>0.004746789899471204</c:v>
                </c:pt>
                <c:pt idx="5">
                  <c:v>-0.0033196322980690897</c:v>
                </c:pt>
                <c:pt idx="6">
                  <c:v>-0.0008364178693870544</c:v>
                </c:pt>
                <c:pt idx="7">
                  <c:v>0.0006077629586582964</c:v>
                </c:pt>
                <c:pt idx="8">
                  <c:v>-0.0009026136477946201</c:v>
                </c:pt>
                <c:pt idx="9">
                  <c:v>0.01175177785323990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11/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0</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3</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1</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4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4</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5</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6</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7</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8</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9</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30</a:t>
            </a:fld>
            <a:endParaRPr lang="en-AE"/>
          </a:p>
        </p:txBody>
      </p:sp>
    </p:spTree>
    <p:extLst>
      <p:ext uri="{BB962C8B-B14F-4D97-AF65-F5344CB8AC3E}">
        <p14:creationId xmlns:p14="http://schemas.microsoft.com/office/powerpoint/2010/main" val="42553901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9/1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9/1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9/1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9/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9/1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9/1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9/1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9/1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9/1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9/1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9/1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9/11/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 Id="rId6" Type="http://schemas.openxmlformats.org/officeDocument/2006/relationships/chart" Target="../charts/chart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 Id="rId6" Type="http://schemas.openxmlformats.org/officeDocument/2006/relationships/chart" Target="../charts/chart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 Id="rId6" Type="http://schemas.openxmlformats.org/officeDocument/2006/relationships/chart" Target="../charts/chart2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 Id="rId6" Type="http://schemas.openxmlformats.org/officeDocument/2006/relationships/chart" Target="../charts/chart2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 Id="rId6" Type="http://schemas.openxmlformats.org/officeDocument/2006/relationships/chart" Target="../charts/chart2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 Id="rId6" Type="http://schemas.openxmlformats.org/officeDocument/2006/relationships/chart" Target="../charts/chart2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 Id="rId6" Type="http://schemas.openxmlformats.org/officeDocument/2006/relationships/chart" Target="../charts/chart3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 Id="rId6" Type="http://schemas.openxmlformats.org/officeDocument/2006/relationships/chart" Target="../charts/chart3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 Id="rId6" Type="http://schemas.openxmlformats.org/officeDocument/2006/relationships/chart" Target="../charts/chart3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 Id="rId6" Type="http://schemas.openxmlformats.org/officeDocument/2006/relationships/chart" Target="../charts/chart3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 Id="rId6" Type="http://schemas.openxmlformats.org/officeDocument/2006/relationships/chart" Target="../charts/chart3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 Id="rId6" Type="http://schemas.openxmlformats.org/officeDocument/2006/relationships/chart" Target="../charts/chart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 Id="rId6" Type="http://schemas.openxmlformats.org/officeDocument/2006/relationships/chart" Target="../charts/chart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 Id="rId6" Type="http://schemas.openxmlformats.org/officeDocument/2006/relationships/chart" Target="../charts/chart4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chart" Target="../charts/chart43.xml"/><Relationship Id="rId4" Type="http://schemas.openxmlformats.org/officeDocument/2006/relationships/chart" Target="../charts/chart4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chart" Target="../charts/chart45.xml"/><Relationship Id="rId4" Type="http://schemas.openxmlformats.org/officeDocument/2006/relationships/chart" Target="../charts/chart4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 Id="rId3" Type="http://schemas.openxmlformats.org/officeDocument/2006/relationships/chart" Target="../charts/chart47.xml"/><Relationship Id="rId4" Type="http://schemas.openxmlformats.org/officeDocument/2006/relationships/chart" Target="../charts/chart4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xml"/><Relationship Id="rId3" Type="http://schemas.openxmlformats.org/officeDocument/2006/relationships/chart" Target="../charts/chart49.xml"/><Relationship Id="rId4" Type="http://schemas.openxmlformats.org/officeDocument/2006/relationships/chart" Target="../charts/chart5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 Id="rId3" Type="http://schemas.openxmlformats.org/officeDocument/2006/relationships/chart" Target="../charts/chart51.xml"/><Relationship Id="rId4" Type="http://schemas.openxmlformats.org/officeDocument/2006/relationships/chart" Target="../charts/chart5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xml"/><Relationship Id="rId3" Type="http://schemas.openxmlformats.org/officeDocument/2006/relationships/chart" Target="../charts/chart53.xml"/><Relationship Id="rId4" Type="http://schemas.openxmlformats.org/officeDocument/2006/relationships/chart" Target="../charts/chart5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xml"/><Relationship Id="rId3" Type="http://schemas.openxmlformats.org/officeDocument/2006/relationships/chart" Target="../charts/chart55.xml"/><Relationship Id="rId4" Type="http://schemas.openxmlformats.org/officeDocument/2006/relationships/chart" Target="../charts/chart5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chart" Target="../charts/chart57.xml"/><Relationship Id="rId4" Type="http://schemas.openxmlformats.org/officeDocument/2006/relationships/chart" Target="../charts/chart5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 Id="rId6" Type="http://schemas.openxmlformats.org/officeDocument/2006/relationships/chart" Target="../charts/char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xml"/><Relationship Id="rId3" Type="http://schemas.openxmlformats.org/officeDocument/2006/relationships/chart" Target="../charts/chart59.xml"/><Relationship Id="rId4" Type="http://schemas.openxmlformats.org/officeDocument/2006/relationships/chart" Target="../charts/chart6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xml"/><Relationship Id="rId3" Type="http://schemas.openxmlformats.org/officeDocument/2006/relationships/chart" Target="../charts/chart61.xml"/><Relationship Id="rId4" Type="http://schemas.openxmlformats.org/officeDocument/2006/relationships/chart" Target="../charts/chart6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xml"/><Relationship Id="rId3" Type="http://schemas.openxmlformats.org/officeDocument/2006/relationships/chart" Target="../charts/chart63.xml"/><Relationship Id="rId4" Type="http://schemas.openxmlformats.org/officeDocument/2006/relationships/chart" Target="../charts/chart6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xml"/><Relationship Id="rId3" Type="http://schemas.openxmlformats.org/officeDocument/2006/relationships/chart" Target="../charts/chart65.xml"/><Relationship Id="rId4" Type="http://schemas.openxmlformats.org/officeDocument/2006/relationships/chart" Target="../charts/chart6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xml"/><Relationship Id="rId3" Type="http://schemas.openxmlformats.org/officeDocument/2006/relationships/chart" Target="../charts/chart67.xml"/><Relationship Id="rId4" Type="http://schemas.openxmlformats.org/officeDocument/2006/relationships/chart" Target="../charts/chart6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xml"/><Relationship Id="rId3" Type="http://schemas.openxmlformats.org/officeDocument/2006/relationships/chart" Target="../charts/chart69.xml"/><Relationship Id="rId4" Type="http://schemas.openxmlformats.org/officeDocument/2006/relationships/chart" Target="../charts/chart7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xml"/><Relationship Id="rId3" Type="http://schemas.openxmlformats.org/officeDocument/2006/relationships/chart" Target="../charts/chart71.xml"/><Relationship Id="rId4" Type="http://schemas.openxmlformats.org/officeDocument/2006/relationships/chart" Target="../charts/chart7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xml"/><Relationship Id="rId3" Type="http://schemas.openxmlformats.org/officeDocument/2006/relationships/chart" Target="../charts/chart73.xml"/><Relationship Id="rId4" Type="http://schemas.openxmlformats.org/officeDocument/2006/relationships/chart" Target="../charts/chart7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xml"/><Relationship Id="rId3" Type="http://schemas.openxmlformats.org/officeDocument/2006/relationships/chart" Target="../charts/chart75.xml"/><Relationship Id="rId4" Type="http://schemas.openxmlformats.org/officeDocument/2006/relationships/chart" Target="../charts/chart7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xml"/><Relationship Id="rId3" Type="http://schemas.openxmlformats.org/officeDocument/2006/relationships/chart" Target="../charts/chart77.xml"/><Relationship Id="rId4" Type="http://schemas.openxmlformats.org/officeDocument/2006/relationships/chart" Target="../charts/chart7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 Id="rId6" Type="http://schemas.openxmlformats.org/officeDocument/2006/relationships/chart" Target="../charts/char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xml"/><Relationship Id="rId3" Type="http://schemas.openxmlformats.org/officeDocument/2006/relationships/chart" Target="../charts/chart79.xml"/><Relationship Id="rId4" Type="http://schemas.openxmlformats.org/officeDocument/2006/relationships/chart" Target="../charts/chart8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xml"/><Relationship Id="rId3" Type="http://schemas.openxmlformats.org/officeDocument/2006/relationships/chart" Target="../charts/chart81.xml"/><Relationship Id="rId4" Type="http://schemas.openxmlformats.org/officeDocument/2006/relationships/chart" Target="../charts/chart8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xml"/><Relationship Id="rId3" Type="http://schemas.openxmlformats.org/officeDocument/2006/relationships/chart" Target="../charts/chart83.xml"/><Relationship Id="rId4" Type="http://schemas.openxmlformats.org/officeDocument/2006/relationships/chart" Target="../charts/chart8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xml"/><Relationship Id="rId3" Type="http://schemas.openxmlformats.org/officeDocument/2006/relationships/chart" Target="../charts/chart85.xml"/><Relationship Id="rId4" Type="http://schemas.openxmlformats.org/officeDocument/2006/relationships/chart" Target="../charts/chart86.xml"/><Relationship Id="rId5" Type="http://schemas.openxmlformats.org/officeDocument/2006/relationships/chart" Target="../charts/chart87.xml"/><Relationship Id="rId6" Type="http://schemas.openxmlformats.org/officeDocument/2006/relationships/chart" Target="../charts/chart88.xml"/><Relationship Id="rId7" Type="http://schemas.openxmlformats.org/officeDocument/2006/relationships/chart" Target="../charts/chart8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xml"/><Relationship Id="rId3" Type="http://schemas.openxmlformats.org/officeDocument/2006/relationships/chart" Target="../charts/chart90.xml"/><Relationship Id="rId4" Type="http://schemas.openxmlformats.org/officeDocument/2006/relationships/chart" Target="../charts/chart91.xml"/><Relationship Id="rId5" Type="http://schemas.openxmlformats.org/officeDocument/2006/relationships/chart" Target="../charts/chart92.xml"/><Relationship Id="rId6" Type="http://schemas.openxmlformats.org/officeDocument/2006/relationships/chart" Target="../charts/chart93.xml"/><Relationship Id="rId7" Type="http://schemas.openxmlformats.org/officeDocument/2006/relationships/chart" Target="../charts/chart9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xml"/><Relationship Id="rId3" Type="http://schemas.openxmlformats.org/officeDocument/2006/relationships/chart" Target="../charts/chart95.xml"/><Relationship Id="rId4" Type="http://schemas.openxmlformats.org/officeDocument/2006/relationships/chart" Target="../charts/chart96.xml"/><Relationship Id="rId5" Type="http://schemas.openxmlformats.org/officeDocument/2006/relationships/chart" Target="../charts/chart97.xml"/><Relationship Id="rId6" Type="http://schemas.openxmlformats.org/officeDocument/2006/relationships/chart" Target="../charts/chart98.xml"/><Relationship Id="rId7" Type="http://schemas.openxmlformats.org/officeDocument/2006/relationships/chart" Target="../charts/chart9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xml"/><Relationship Id="rId3" Type="http://schemas.openxmlformats.org/officeDocument/2006/relationships/chart" Target="../charts/chart100.xml"/><Relationship Id="rId4" Type="http://schemas.openxmlformats.org/officeDocument/2006/relationships/chart" Target="../charts/chart101.xml"/><Relationship Id="rId5" Type="http://schemas.openxmlformats.org/officeDocument/2006/relationships/chart" Target="../charts/chart102.xml"/><Relationship Id="rId6" Type="http://schemas.openxmlformats.org/officeDocument/2006/relationships/chart" Target="../charts/chart103.xml"/><Relationship Id="rId7" Type="http://schemas.openxmlformats.org/officeDocument/2006/relationships/chart" Target="../charts/chart10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xml"/><Relationship Id="rId3" Type="http://schemas.openxmlformats.org/officeDocument/2006/relationships/chart" Target="../charts/chart105.xml"/><Relationship Id="rId4" Type="http://schemas.openxmlformats.org/officeDocument/2006/relationships/chart" Target="../charts/chart106.xml"/><Relationship Id="rId5" Type="http://schemas.openxmlformats.org/officeDocument/2006/relationships/chart" Target="../charts/chart107.xml"/><Relationship Id="rId6" Type="http://schemas.openxmlformats.org/officeDocument/2006/relationships/chart" Target="../charts/chart108.xml"/><Relationship Id="rId7" Type="http://schemas.openxmlformats.org/officeDocument/2006/relationships/chart" Target="../charts/chart10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xml"/><Relationship Id="rId3" Type="http://schemas.openxmlformats.org/officeDocument/2006/relationships/chart" Target="../charts/chart110.xml"/><Relationship Id="rId4" Type="http://schemas.openxmlformats.org/officeDocument/2006/relationships/chart" Target="../charts/chart111.xml"/><Relationship Id="rId5" Type="http://schemas.openxmlformats.org/officeDocument/2006/relationships/chart" Target="../charts/chart112.xml"/><Relationship Id="rId6" Type="http://schemas.openxmlformats.org/officeDocument/2006/relationships/chart" Target="../charts/chart113.xml"/><Relationship Id="rId7" Type="http://schemas.openxmlformats.org/officeDocument/2006/relationships/chart" Target="../charts/chart11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xml"/><Relationship Id="rId3" Type="http://schemas.openxmlformats.org/officeDocument/2006/relationships/chart" Target="../charts/chart115.xml"/><Relationship Id="rId4" Type="http://schemas.openxmlformats.org/officeDocument/2006/relationships/chart" Target="../charts/chart116.xml"/><Relationship Id="rId5" Type="http://schemas.openxmlformats.org/officeDocument/2006/relationships/chart" Target="../charts/chart117.xml"/><Relationship Id="rId6" Type="http://schemas.openxmlformats.org/officeDocument/2006/relationships/chart" Target="../charts/chart118.xml"/><Relationship Id="rId7" Type="http://schemas.openxmlformats.org/officeDocument/2006/relationships/chart" Target="../charts/chart11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 Id="rId6" Type="http://schemas.openxmlformats.org/officeDocument/2006/relationships/chart" Target="../charts/chart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xml"/><Relationship Id="rId3" Type="http://schemas.openxmlformats.org/officeDocument/2006/relationships/chart" Target="../charts/chart120.xml"/><Relationship Id="rId4" Type="http://schemas.openxmlformats.org/officeDocument/2006/relationships/chart" Target="../charts/chart121.xml"/><Relationship Id="rId5" Type="http://schemas.openxmlformats.org/officeDocument/2006/relationships/chart" Target="../charts/chart122.xml"/><Relationship Id="rId6" Type="http://schemas.openxmlformats.org/officeDocument/2006/relationships/chart" Target="../charts/chart123.xml"/><Relationship Id="rId7" Type="http://schemas.openxmlformats.org/officeDocument/2006/relationships/chart" Target="../charts/chart12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xml"/><Relationship Id="rId3" Type="http://schemas.openxmlformats.org/officeDocument/2006/relationships/chart" Target="../charts/chart125.xml"/><Relationship Id="rId4" Type="http://schemas.openxmlformats.org/officeDocument/2006/relationships/chart" Target="../charts/chart126.xml"/><Relationship Id="rId5" Type="http://schemas.openxmlformats.org/officeDocument/2006/relationships/chart" Target="../charts/chart127.xml"/><Relationship Id="rId6" Type="http://schemas.openxmlformats.org/officeDocument/2006/relationships/chart" Target="../charts/chart128.xml"/><Relationship Id="rId7" Type="http://schemas.openxmlformats.org/officeDocument/2006/relationships/chart" Target="../charts/chart12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xml"/><Relationship Id="rId3" Type="http://schemas.openxmlformats.org/officeDocument/2006/relationships/chart" Target="../charts/chart130.xml"/><Relationship Id="rId4" Type="http://schemas.openxmlformats.org/officeDocument/2006/relationships/chart" Target="../charts/chart131.xml"/><Relationship Id="rId5" Type="http://schemas.openxmlformats.org/officeDocument/2006/relationships/chart" Target="../charts/chart132.xml"/><Relationship Id="rId6" Type="http://schemas.openxmlformats.org/officeDocument/2006/relationships/chart" Target="../charts/chart133.xml"/><Relationship Id="rId7" Type="http://schemas.openxmlformats.org/officeDocument/2006/relationships/chart" Target="../charts/chart13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xml"/><Relationship Id="rId3" Type="http://schemas.openxmlformats.org/officeDocument/2006/relationships/chart" Target="../charts/chart135.xml"/><Relationship Id="rId4" Type="http://schemas.openxmlformats.org/officeDocument/2006/relationships/chart" Target="../charts/chart136.xml"/><Relationship Id="rId5" Type="http://schemas.openxmlformats.org/officeDocument/2006/relationships/chart" Target="../charts/chart137.xml"/><Relationship Id="rId6" Type="http://schemas.openxmlformats.org/officeDocument/2006/relationships/chart" Target="../charts/chart138.xml"/><Relationship Id="rId7" Type="http://schemas.openxmlformats.org/officeDocument/2006/relationships/chart" Target="../charts/chart13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3.xml"/><Relationship Id="rId3" Type="http://schemas.openxmlformats.org/officeDocument/2006/relationships/chart" Target="../charts/chart140.xml"/><Relationship Id="rId4" Type="http://schemas.openxmlformats.org/officeDocument/2006/relationships/chart" Target="../charts/chart141.xml"/><Relationship Id="rId5" Type="http://schemas.openxmlformats.org/officeDocument/2006/relationships/chart" Target="../charts/chart142.xml"/><Relationship Id="rId6" Type="http://schemas.openxmlformats.org/officeDocument/2006/relationships/chart" Target="../charts/chart143.xml"/><Relationship Id="rId7" Type="http://schemas.openxmlformats.org/officeDocument/2006/relationships/chart" Target="../charts/chart14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4.xml"/><Relationship Id="rId3" Type="http://schemas.openxmlformats.org/officeDocument/2006/relationships/chart" Target="../charts/chart145.xml"/><Relationship Id="rId4" Type="http://schemas.openxmlformats.org/officeDocument/2006/relationships/chart" Target="../charts/chart146.xml"/><Relationship Id="rId5" Type="http://schemas.openxmlformats.org/officeDocument/2006/relationships/chart" Target="../charts/chart147.xml"/><Relationship Id="rId6" Type="http://schemas.openxmlformats.org/officeDocument/2006/relationships/chart" Target="../charts/chart148.xml"/><Relationship Id="rId7" Type="http://schemas.openxmlformats.org/officeDocument/2006/relationships/chart" Target="../charts/chart14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5.xml"/><Relationship Id="rId3" Type="http://schemas.openxmlformats.org/officeDocument/2006/relationships/chart" Target="../charts/chart150.xml"/><Relationship Id="rId4" Type="http://schemas.openxmlformats.org/officeDocument/2006/relationships/chart" Target="../charts/chart151.xml"/><Relationship Id="rId5" Type="http://schemas.openxmlformats.org/officeDocument/2006/relationships/chart" Target="../charts/chart152.xml"/><Relationship Id="rId6" Type="http://schemas.openxmlformats.org/officeDocument/2006/relationships/chart" Target="../charts/chart153.xml"/><Relationship Id="rId7" Type="http://schemas.openxmlformats.org/officeDocument/2006/relationships/chart" Target="../charts/chart15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6.xml"/><Relationship Id="rId3" Type="http://schemas.openxmlformats.org/officeDocument/2006/relationships/chart" Target="../charts/chart155.xml"/><Relationship Id="rId4" Type="http://schemas.openxmlformats.org/officeDocument/2006/relationships/chart" Target="../charts/chart156.xml"/><Relationship Id="rId5" Type="http://schemas.openxmlformats.org/officeDocument/2006/relationships/chart" Target="../charts/chart157.xml"/><Relationship Id="rId6" Type="http://schemas.openxmlformats.org/officeDocument/2006/relationships/chart" Target="../charts/chart158.xml"/><Relationship Id="rId7" Type="http://schemas.openxmlformats.org/officeDocument/2006/relationships/chart" Target="../charts/chart15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7.xml"/><Relationship Id="rId3" Type="http://schemas.openxmlformats.org/officeDocument/2006/relationships/chart" Target="../charts/chart160.xml"/><Relationship Id="rId4" Type="http://schemas.openxmlformats.org/officeDocument/2006/relationships/chart" Target="../charts/chart161.xml"/><Relationship Id="rId5" Type="http://schemas.openxmlformats.org/officeDocument/2006/relationships/chart" Target="../charts/chart162.xml"/><Relationship Id="rId6" Type="http://schemas.openxmlformats.org/officeDocument/2006/relationships/chart" Target="../charts/chart163.xml"/><Relationship Id="rId7" Type="http://schemas.openxmlformats.org/officeDocument/2006/relationships/chart" Target="../charts/chart16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8.xml"/><Relationship Id="rId3" Type="http://schemas.openxmlformats.org/officeDocument/2006/relationships/chart" Target="../charts/chart165.xml"/><Relationship Id="rId4" Type="http://schemas.openxmlformats.org/officeDocument/2006/relationships/chart" Target="../charts/chart166.xml"/><Relationship Id="rId5" Type="http://schemas.openxmlformats.org/officeDocument/2006/relationships/chart" Target="../charts/chart167.xml"/><Relationship Id="rId6" Type="http://schemas.openxmlformats.org/officeDocument/2006/relationships/chart" Target="../charts/chart168.xml"/><Relationship Id="rId7" Type="http://schemas.openxmlformats.org/officeDocument/2006/relationships/chart" Target="../charts/chart16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 Id="rId6" Type="http://schemas.openxmlformats.org/officeDocument/2006/relationships/chart" Target="../charts/chart1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9.xml"/><Relationship Id="rId3" Type="http://schemas.openxmlformats.org/officeDocument/2006/relationships/chart" Target="../charts/chart170.xml"/><Relationship Id="rId4" Type="http://schemas.openxmlformats.org/officeDocument/2006/relationships/chart" Target="../charts/chart171.xml"/><Relationship Id="rId5" Type="http://schemas.openxmlformats.org/officeDocument/2006/relationships/chart" Target="../charts/chart172.xml"/><Relationship Id="rId6" Type="http://schemas.openxmlformats.org/officeDocument/2006/relationships/chart" Target="../charts/chart173.xml"/><Relationship Id="rId7" Type="http://schemas.openxmlformats.org/officeDocument/2006/relationships/chart" Target="../charts/chart17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0.xml"/><Relationship Id="rId3" Type="http://schemas.openxmlformats.org/officeDocument/2006/relationships/chart" Target="../charts/chart175.xml"/><Relationship Id="rId4" Type="http://schemas.openxmlformats.org/officeDocument/2006/relationships/chart" Target="../charts/chart176.xml"/><Relationship Id="rId5" Type="http://schemas.openxmlformats.org/officeDocument/2006/relationships/chart" Target="../charts/chart177.xml"/><Relationship Id="rId6" Type="http://schemas.openxmlformats.org/officeDocument/2006/relationships/chart" Target="../charts/chart178.xml"/><Relationship Id="rId7" Type="http://schemas.openxmlformats.org/officeDocument/2006/relationships/chart" Target="../charts/chart17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1.xml"/><Relationship Id="rId3" Type="http://schemas.openxmlformats.org/officeDocument/2006/relationships/chart" Target="../charts/chart180.xml"/><Relationship Id="rId4" Type="http://schemas.openxmlformats.org/officeDocument/2006/relationships/chart" Target="../charts/chart181.xml"/><Relationship Id="rId5" Type="http://schemas.openxmlformats.org/officeDocument/2006/relationships/chart" Target="../charts/chart182.xml"/><Relationship Id="rId6" Type="http://schemas.openxmlformats.org/officeDocument/2006/relationships/chart" Target="../charts/chart183.xml"/><Relationship Id="rId7" Type="http://schemas.openxmlformats.org/officeDocument/2006/relationships/chart" Target="../charts/chart18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xml"/><Relationship Id="rId3" Type="http://schemas.openxmlformats.org/officeDocument/2006/relationships/chart" Target="../charts/chart185.xml"/><Relationship Id="rId4" Type="http://schemas.openxmlformats.org/officeDocument/2006/relationships/chart" Target="../charts/chart186.xml"/><Relationship Id="rId5" Type="http://schemas.openxmlformats.org/officeDocument/2006/relationships/chart" Target="../charts/chart187.xml"/><Relationship Id="rId6" Type="http://schemas.openxmlformats.org/officeDocument/2006/relationships/chart" Target="../charts/chart188.xml"/><Relationship Id="rId7" Type="http://schemas.openxmlformats.org/officeDocument/2006/relationships/chart" Target="../charts/chart18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3.xml"/><Relationship Id="rId3" Type="http://schemas.openxmlformats.org/officeDocument/2006/relationships/chart" Target="../charts/chart190.xml"/><Relationship Id="rId4" Type="http://schemas.openxmlformats.org/officeDocument/2006/relationships/chart" Target="../charts/chart191.xml"/><Relationship Id="rId5" Type="http://schemas.openxmlformats.org/officeDocument/2006/relationships/chart" Target="../charts/chart19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4.xml"/><Relationship Id="rId3" Type="http://schemas.openxmlformats.org/officeDocument/2006/relationships/chart" Target="../charts/chart193.xml"/><Relationship Id="rId4" Type="http://schemas.openxmlformats.org/officeDocument/2006/relationships/chart" Target="../charts/chart194.xml"/><Relationship Id="rId5" Type="http://schemas.openxmlformats.org/officeDocument/2006/relationships/chart" Target="../charts/chart19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5.xml"/><Relationship Id="rId3" Type="http://schemas.openxmlformats.org/officeDocument/2006/relationships/chart" Target="../charts/chart196.xml"/><Relationship Id="rId4" Type="http://schemas.openxmlformats.org/officeDocument/2006/relationships/chart" Target="../charts/chart197.xml"/><Relationship Id="rId5" Type="http://schemas.openxmlformats.org/officeDocument/2006/relationships/chart" Target="../charts/chart19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6.xml"/><Relationship Id="rId3" Type="http://schemas.openxmlformats.org/officeDocument/2006/relationships/chart" Target="../charts/chart199.xml"/><Relationship Id="rId4" Type="http://schemas.openxmlformats.org/officeDocument/2006/relationships/chart" Target="../charts/chart200.xml"/><Relationship Id="rId5" Type="http://schemas.openxmlformats.org/officeDocument/2006/relationships/chart" Target="../charts/chart20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7.xml"/><Relationship Id="rId3" Type="http://schemas.openxmlformats.org/officeDocument/2006/relationships/chart" Target="../charts/chart202.xml"/><Relationship Id="rId4" Type="http://schemas.openxmlformats.org/officeDocument/2006/relationships/chart" Target="../charts/chart203.xml"/><Relationship Id="rId5" Type="http://schemas.openxmlformats.org/officeDocument/2006/relationships/chart" Target="../charts/chart20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8.xml"/><Relationship Id="rId3" Type="http://schemas.openxmlformats.org/officeDocument/2006/relationships/chart" Target="../charts/chart205.xml"/><Relationship Id="rId4" Type="http://schemas.openxmlformats.org/officeDocument/2006/relationships/chart" Target="../charts/chart206.xml"/><Relationship Id="rId5" Type="http://schemas.openxmlformats.org/officeDocument/2006/relationships/chart" Target="../charts/chart207.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 Id="rId6" Type="http://schemas.openxmlformats.org/officeDocument/2006/relationships/chart" Target="../charts/chart1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 Id="rId6" Type="http://schemas.openxmlformats.org/officeDocument/2006/relationships/chart" Target="../charts/chart1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 Id="rId6" Type="http://schemas.openxmlformats.org/officeDocument/2006/relationships/chart" Target="../charts/char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Total Fromag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859.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86.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936.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24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8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8689276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Ingredient A Chaud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35.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7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20986210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Ingredient A Chaud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9.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37019341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Ingredient A Chaud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5585826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nfant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3.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6.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10.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9.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1622886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nfant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7.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4.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1316810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Enfant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5.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33457668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Frais A Tartine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59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3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2702014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Frais A Tartiner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8.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2.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33259425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Frais A Tartiner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7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41657186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alad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72.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4.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86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2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23390484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Total Fromage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32.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639.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56.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40249817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alade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6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5.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3.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31164966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alade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8.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9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29333199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Total Fromag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59.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8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8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936.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24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28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10726186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Total Fromage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33.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9.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39.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56.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29868349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Total Fromage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8.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1.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2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7.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1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37767358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oft Chees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7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83.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3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10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258.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22.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32203848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oft Cheese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95.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08.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40383780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oft Cheese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8.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0.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93.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7.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31428299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peritif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9.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13202162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peritif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20182479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Total Fromage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0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1.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1224.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337.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15.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32261402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Aperitif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29821151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Ingredient A Chaud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5.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72.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8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19035933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Ingredient A Chaud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0.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15206962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Ingredient A Chaud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13264335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nfant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3.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6.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27.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10.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19.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41442673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nfant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4.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7.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38813030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Enfant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8959114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Frais A Tartiner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35.4</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5.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3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92.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38188583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Frais A Tartiner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8.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2.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5.9</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14930257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9</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Frais A Tartiner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4.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7.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6.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6.3</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25916271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oft Cheese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37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83.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3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102.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258.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622.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20289899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0</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alade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2.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7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54.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60.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23.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68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42524588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1</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alade | Carrefour</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12.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2.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65.8</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23.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1399910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t>Concentration/Market position analysis | by Top Brands | Salade | Intermarche</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8.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9.0</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a:r>
                        <a:rPr sz="800">
                          <a:latin typeface="Nexa Book"/>
                        </a:rPr>
                        <a:t>6.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91.1</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7</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80.6</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9/11/2025</a:t>
            </a:fld>
            <a:endParaRPr lang="en-US"/>
          </a:p>
        </p:txBody>
      </p:sp>
    </p:spTree>
    <p:extLst>
      <p:ext uri="{BB962C8B-B14F-4D97-AF65-F5344CB8AC3E}">
        <p14:creationId xmlns:p14="http://schemas.microsoft.com/office/powerpoint/2010/main" val="40730668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Euri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Total Fromage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oeur De L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26322867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Euri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4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Total Fromage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oeur De L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29678220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Entremo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Euri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Total Fromage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Entremo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eerdamm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Coeur De L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28931592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Euri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Soft Cheese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oeur De L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3814686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Euri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Ker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7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Soft Cheese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Coeur De L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27135126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Euri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Soft Cheese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Coeur De L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17666582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5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3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5.9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3.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peritif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5.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9.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7495650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oft Cheese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58.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7.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695.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708.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50.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409590618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peritif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O'Tapas Ape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Leerdamm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7507369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peritif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410963498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Les Mousquetai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Millere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5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Ingredient A Chaud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Ragu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133357712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Ingredient A Chaud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234196674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Les Mousquetai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6.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Millere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6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Ingredient A Chaud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Ragu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377321969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Ker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nfant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211382480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Ker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nfant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414815431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Ker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nfant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240734486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Mondelez</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Frais A Tartiner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Ronde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17338241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Mondelez</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Frais A Tartiner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Ronde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16442953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Soft Cheese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4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48.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0.4</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493.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37.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4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59485591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Mondelez</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Frais A Tartiner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14191414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8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Salade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339775255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Salade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113461127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Les Mousquetair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2.8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7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Salade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11/2025</a:t>
            </a:fld>
            <a:endParaRPr lang="en-US"/>
          </a:p>
        </p:txBody>
      </p:sp>
    </p:spTree>
    <p:extLst>
      <p:ext uri="{BB962C8B-B14F-4D97-AF65-F5344CB8AC3E}">
        <p14:creationId xmlns:p14="http://schemas.microsoft.com/office/powerpoint/2010/main" val="411188511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Soft Chees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Coeur De L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Aperiti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5.9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9.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Ingredient A Chau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Ragu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1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11/2025</a:t>
            </a:fld>
            <a:endParaRPr lang="en-US"/>
          </a:p>
        </p:txBody>
      </p:sp>
    </p:spTree>
    <p:extLst>
      <p:ext uri="{BB962C8B-B14F-4D97-AF65-F5344CB8AC3E}">
        <p14:creationId xmlns:p14="http://schemas.microsoft.com/office/powerpoint/2010/main" val="306737054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Soft Chees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Coeur De L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Aperiti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O'Tapas Ape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Leerdamm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Ingredient A Chau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11/2025</a:t>
            </a:fld>
            <a:endParaRPr lang="en-US"/>
          </a:p>
        </p:txBody>
      </p:sp>
    </p:spTree>
    <p:extLst>
      <p:ext uri="{BB962C8B-B14F-4D97-AF65-F5344CB8AC3E}">
        <p14:creationId xmlns:p14="http://schemas.microsoft.com/office/powerpoint/2010/main" val="288360447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Soft Chees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6460">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6460">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6460">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6460">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6460">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6460">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6460">
                <a:tc>
                  <a:txBody>
                    <a:bodyPr/>
                    <a:lstStyle/>
                    <a:p>
                      <a:pPr>
                        <a:defRPr sz="900">
                          <a:latin typeface="Nexa Bold"/>
                        </a:defRPr>
                      </a:pPr>
                      <a:r>
                        <a:t>Coeur De Li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6460">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6460">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6460">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Aperiti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Ingredient A Chaud</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Ragu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11/2025</a:t>
            </a:fld>
            <a:endParaRPr lang="en-US"/>
          </a:p>
        </p:txBody>
      </p:sp>
    </p:spTree>
    <p:extLst>
      <p:ext uri="{BB962C8B-B14F-4D97-AF65-F5344CB8AC3E}">
        <p14:creationId xmlns:p14="http://schemas.microsoft.com/office/powerpoint/2010/main" val="408295504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nfan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2.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Frais A Tartine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Ronde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a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11/2025</a:t>
            </a:fld>
            <a:endParaRPr lang="en-US"/>
          </a:p>
        </p:txBody>
      </p:sp>
    </p:spTree>
    <p:extLst>
      <p:ext uri="{BB962C8B-B14F-4D97-AF65-F5344CB8AC3E}">
        <p14:creationId xmlns:p14="http://schemas.microsoft.com/office/powerpoint/2010/main" val="22813436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nfan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Frais A Tartine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Ronde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a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11/2025</a:t>
            </a:fld>
            <a:endParaRPr lang="en-US"/>
          </a:p>
        </p:txBody>
      </p:sp>
    </p:spTree>
    <p:extLst>
      <p:ext uri="{BB962C8B-B14F-4D97-AF65-F5344CB8AC3E}">
        <p14:creationId xmlns:p14="http://schemas.microsoft.com/office/powerpoint/2010/main" val="246401244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nfan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Frais A Tartine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149">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149">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149">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149">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149">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149">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149">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14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a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7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11/2025</a:t>
            </a:fld>
            <a:endParaRPr lang="en-US"/>
          </a:p>
        </p:txBody>
      </p:sp>
    </p:spTree>
    <p:extLst>
      <p:ext uri="{BB962C8B-B14F-4D97-AF65-F5344CB8AC3E}">
        <p14:creationId xmlns:p14="http://schemas.microsoft.com/office/powerpoint/2010/main" val="18041734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peritif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0.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5.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209.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0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5.3</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8365356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peritif | Carrefour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18404493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t>Market Trends Analysis | By Top Brands | Aperitif | Intermarche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a:r>
                        <a:rPr sz="800">
                          <a:latin typeface="Nexa Book"/>
                        </a:rPr>
                        <a:t>1.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9</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1.1</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a:r>
                        <a:rPr sz="800">
                          <a:latin typeface="Nexa Book"/>
                        </a:rPr>
                        <a:t>34.8</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35.0</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sz="800">
                          <a:latin typeface="Nexa Book"/>
                        </a:rPr>
                        <a:t>21.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9/11/2025</a:t>
            </a:fld>
            <a:endParaRPr lang="en-US"/>
          </a:p>
        </p:txBody>
      </p:sp>
    </p:spTree>
    <p:extLst>
      <p:ext uri="{BB962C8B-B14F-4D97-AF65-F5344CB8AC3E}">
        <p14:creationId xmlns:p14="http://schemas.microsoft.com/office/powerpoint/2010/main" val="40763688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3.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38</TotalTime>
  <Words>7185</Words>
  <Application>Microsoft Office PowerPoint</Application>
  <PresentationFormat>On-screen Show (16:9)</PresentationFormat>
  <Paragraphs>2850</Paragraphs>
  <Slides>69</Slides>
  <Notes>4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69</vt:i4>
      </vt:variant>
    </vt:vector>
  </HeadingPairs>
  <TitlesOfParts>
    <vt:vector size="79"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ector Growth vs. Company Growth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Aleaa SALAH</cp:lastModifiedBy>
  <cp:revision>41</cp:revision>
  <dcterms:created xsi:type="dcterms:W3CDTF">2024-07-05T07:54:38Z</dcterms:created>
  <dcterms:modified xsi:type="dcterms:W3CDTF">2025-09-11T08:51: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